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9" r:id="rId4"/>
    <p:sldMasterId id="2147483667" r:id="rId5"/>
    <p:sldMasterId id="2147483676" r:id="rId6"/>
    <p:sldMasterId id="2147483790" r:id="rId7"/>
    <p:sldMasterId id="2147483818" r:id="rId8"/>
    <p:sldMasterId id="2147483863" r:id="rId9"/>
  </p:sldMasterIdLst>
  <p:notesMasterIdLst>
    <p:notesMasterId r:id="rId16"/>
  </p:notesMasterIdLst>
  <p:handoutMasterIdLst>
    <p:handoutMasterId r:id="rId17"/>
  </p:handoutMasterIdLst>
  <p:sldIdLst>
    <p:sldId id="906" r:id="rId10"/>
    <p:sldId id="901" r:id="rId11"/>
    <p:sldId id="905" r:id="rId12"/>
    <p:sldId id="902" r:id="rId13"/>
    <p:sldId id="903" r:id="rId14"/>
    <p:sldId id="904" r:id="rId15"/>
  </p:sldIdLst>
  <p:sldSz cx="9906000" cy="6858000" type="A4"/>
  <p:notesSz cx="6794500" cy="9931400"/>
  <p:defaultTextStyle>
    <a:defPPr>
      <a:defRPr lang="en-US"/>
    </a:defPPr>
    <a:lvl1pPr marL="0" algn="l" defTabSz="9135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790" algn="l" defTabSz="9135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582" algn="l" defTabSz="9135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375" algn="l" defTabSz="9135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167" algn="l" defTabSz="9135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3956" algn="l" defTabSz="9135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0749" algn="l" defTabSz="9135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7540" algn="l" defTabSz="9135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4329" algn="l" defTabSz="91358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orient="horz" pos="210">
          <p15:clr>
            <a:srgbClr val="A4A3A4"/>
          </p15:clr>
        </p15:guide>
        <p15:guide id="3" orient="horz" pos="178">
          <p15:clr>
            <a:srgbClr val="A4A3A4"/>
          </p15:clr>
        </p15:guide>
        <p15:guide id="4" orient="horz" pos="957">
          <p15:clr>
            <a:srgbClr val="A4A3A4"/>
          </p15:clr>
        </p15:guide>
        <p15:guide id="5" orient="horz" pos="910">
          <p15:clr>
            <a:srgbClr val="A4A3A4"/>
          </p15:clr>
        </p15:guide>
        <p15:guide id="6" orient="horz" pos="4159">
          <p15:clr>
            <a:srgbClr val="A4A3A4"/>
          </p15:clr>
        </p15:guide>
        <p15:guide id="7" orient="horz" pos="3592">
          <p15:clr>
            <a:srgbClr val="A4A3A4"/>
          </p15:clr>
        </p15:guide>
        <p15:guide id="8" orient="horz" pos="3649">
          <p15:clr>
            <a:srgbClr val="A4A3A4"/>
          </p15:clr>
        </p15:guide>
        <p15:guide id="9" pos="2888">
          <p15:clr>
            <a:srgbClr val="A4A3A4"/>
          </p15:clr>
        </p15:guide>
        <p15:guide id="10" pos="263">
          <p15:clr>
            <a:srgbClr val="A4A3A4"/>
          </p15:clr>
        </p15:guide>
        <p15:guide id="11" pos="5496">
          <p15:clr>
            <a:srgbClr val="A4A3A4"/>
          </p15:clr>
        </p15:guide>
        <p15:guide id="12" pos="3329">
          <p15:clr>
            <a:srgbClr val="A4A3A4"/>
          </p15:clr>
        </p15:guide>
        <p15:guide id="13" pos="2402">
          <p15:clr>
            <a:srgbClr val="A4A3A4"/>
          </p15:clr>
        </p15:guide>
        <p15:guide id="14" pos="4824">
          <p15:clr>
            <a:srgbClr val="A4A3A4"/>
          </p15:clr>
        </p15:guide>
        <p15:guide id="15" pos="3129">
          <p15:clr>
            <a:srgbClr val="A4A3A4"/>
          </p15:clr>
        </p15:guide>
        <p15:guide id="16" pos="285">
          <p15:clr>
            <a:srgbClr val="A4A3A4"/>
          </p15:clr>
        </p15:guide>
        <p15:guide id="17" pos="5954">
          <p15:clr>
            <a:srgbClr val="A4A3A4"/>
          </p15:clr>
        </p15:guide>
        <p15:guide id="18" pos="3606">
          <p15:clr>
            <a:srgbClr val="A4A3A4"/>
          </p15:clr>
        </p15:guide>
        <p15:guide id="19" pos="2602">
          <p15:clr>
            <a:srgbClr val="A4A3A4"/>
          </p15:clr>
        </p15:guide>
        <p15:guide id="20" pos="5226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ill Adams" initials="JA" lastIdx="1" clrIdx="0"/>
  <p:cmAuthor id="1" name="Patrick Tsoi" initials="PT" lastIdx="3" clrIdx="1">
    <p:extLst/>
  </p:cmAuthor>
  <p:cmAuthor id="2" name="Helena Clennell" initials="HC" lastIdx="20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CC"/>
    <a:srgbClr val="CCFFCC"/>
    <a:srgbClr val="99FF99"/>
    <a:srgbClr val="FFFF99"/>
    <a:srgbClr val="FFFFCC"/>
    <a:srgbClr val="99CCFF"/>
    <a:srgbClr val="CCECFF"/>
    <a:srgbClr val="66FFFF"/>
    <a:srgbClr val="FF9900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54" autoAdjust="0"/>
    <p:restoredTop sz="95462" autoAdjust="0"/>
  </p:normalViewPr>
  <p:slideViewPr>
    <p:cSldViewPr snapToGrid="0" showGuides="1">
      <p:cViewPr varScale="1">
        <p:scale>
          <a:sx n="100" d="100"/>
          <a:sy n="100" d="100"/>
        </p:scale>
        <p:origin x="-102" y="-186"/>
      </p:cViewPr>
      <p:guideLst>
        <p:guide orient="horz" pos="2160"/>
        <p:guide orient="horz" pos="210"/>
        <p:guide orient="horz" pos="178"/>
        <p:guide orient="horz" pos="957"/>
        <p:guide orient="horz" pos="910"/>
        <p:guide orient="horz" pos="4159"/>
        <p:guide orient="horz" pos="3592"/>
        <p:guide orient="horz" pos="3649"/>
        <p:guide pos="2888"/>
        <p:guide pos="263"/>
        <p:guide pos="5496"/>
        <p:guide pos="3329"/>
        <p:guide pos="2402"/>
        <p:guide pos="4824"/>
        <p:guide pos="3129"/>
        <p:guide pos="285"/>
        <p:guide pos="5954"/>
        <p:guide pos="3606"/>
        <p:guide pos="2602"/>
        <p:guide pos="5226"/>
      </p:guideLst>
    </p:cSldViewPr>
  </p:slideViewPr>
  <p:outlineViewPr>
    <p:cViewPr>
      <p:scale>
        <a:sx n="33" d="100"/>
        <a:sy n="33" d="100"/>
      </p:scale>
      <p:origin x="0" y="18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0" d="100"/>
        <a:sy n="120" d="100"/>
      </p:scale>
      <p:origin x="0" y="37428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microsoft.com/office/2015/10/relationships/revisionInfo" Target="revisionInfo.xml"/><Relationship Id="rId10" Type="http://schemas.openxmlformats.org/officeDocument/2006/relationships/slide" Target="slides/slide1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648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3D0F96-6C3C-460C-BF87-346C6DA25452}" type="datetimeFigureOut">
              <a:rPr lang="en-US" smtClean="0"/>
              <a:t>6/28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648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13181B-AF4C-445D-86F5-02D018269F8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781468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8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6C07F4E0-1604-49A8-8AFD-492A88FAAC25}" type="datetimeFigureOut">
              <a:rPr lang="en-US" smtClean="0"/>
              <a:pPr/>
              <a:t>6/28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8025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1" y="4717416"/>
            <a:ext cx="5435600" cy="44691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8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EE4C5386-DB2A-45A4-86A4-E806641C31E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19023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3582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6790" algn="l" defTabSz="913582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3582" algn="l" defTabSz="913582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0375" algn="l" defTabSz="913582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7167" algn="l" defTabSz="913582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3956" algn="l" defTabSz="9135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749" algn="l" defTabSz="9135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540" algn="l" defTabSz="9135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329" algn="l" defTabSz="9135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ternal communication channels will focus on the AVOID message.  The WTLL will feature AVOID with daily huddles each day to cover specific topics.</a:t>
            </a:r>
          </a:p>
        </p:txBody>
      </p:sp>
    </p:spTree>
    <p:extLst>
      <p:ext uri="{BB962C8B-B14F-4D97-AF65-F5344CB8AC3E}">
        <p14:creationId xmlns:p14="http://schemas.microsoft.com/office/powerpoint/2010/main" val="10715743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is the managers </a:t>
            </a:r>
          </a:p>
        </p:txBody>
      </p:sp>
    </p:spTree>
    <p:extLst>
      <p:ext uri="{BB962C8B-B14F-4D97-AF65-F5344CB8AC3E}">
        <p14:creationId xmlns:p14="http://schemas.microsoft.com/office/powerpoint/2010/main" val="40209868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is what we would like to see units put in place.  One Allocated Notice Board for the week.</a:t>
            </a:r>
          </a:p>
        </p:txBody>
      </p:sp>
    </p:spTree>
    <p:extLst>
      <p:ext uri="{BB962C8B-B14F-4D97-AF65-F5344CB8AC3E}">
        <p14:creationId xmlns:p14="http://schemas.microsoft.com/office/powerpoint/2010/main" val="2783450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se are some other activities that units could consider to increase activity across the week.</a:t>
            </a:r>
          </a:p>
        </p:txBody>
      </p:sp>
    </p:spTree>
    <p:extLst>
      <p:ext uri="{BB962C8B-B14F-4D97-AF65-F5344CB8AC3E}">
        <p14:creationId xmlns:p14="http://schemas.microsoft.com/office/powerpoint/2010/main" val="499516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External Comms will be leading on the following topics.</a:t>
            </a:r>
          </a:p>
        </p:txBody>
      </p:sp>
    </p:spTree>
    <p:extLst>
      <p:ext uri="{BB962C8B-B14F-4D97-AF65-F5344CB8AC3E}">
        <p14:creationId xmlns:p14="http://schemas.microsoft.com/office/powerpoint/2010/main" val="2206809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60041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9141" y="1049558"/>
            <a:ext cx="9601769" cy="349556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5112" y="4689521"/>
            <a:ext cx="9542963" cy="16922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43611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160847" y="1048603"/>
            <a:ext cx="3099888" cy="533315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3"/>
          </p:nvPr>
        </p:nvSpPr>
        <p:spPr>
          <a:xfrm>
            <a:off x="3405190" y="1052530"/>
            <a:ext cx="3095624" cy="533315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half" idx="14"/>
          </p:nvPr>
        </p:nvSpPr>
        <p:spPr>
          <a:xfrm>
            <a:off x="6645275" y="1052530"/>
            <a:ext cx="3085390" cy="533315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61017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0027" y="1049578"/>
            <a:ext cx="4681538" cy="270329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4449" y="1052537"/>
            <a:ext cx="4683625" cy="270033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200027" y="3720505"/>
            <a:ext cx="4681538" cy="266678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5026675" y="3716365"/>
            <a:ext cx="4683625" cy="26638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2947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73171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448800"/>
            <a:ext cx="84201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39804" y="3204554"/>
            <a:ext cx="7680325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6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1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9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Rectangle 8"/>
          <p:cNvSpPr>
            <a:spLocks noChangeArrowheads="1"/>
          </p:cNvSpPr>
          <p:nvPr userDrawn="1"/>
        </p:nvSpPr>
        <p:spPr bwMode="auto">
          <a:xfrm>
            <a:off x="831853" y="4319635"/>
            <a:ext cx="8242300" cy="5175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58" tIns="45680" rIns="91358" bIns="4568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i="1" dirty="0">
                <a:solidFill>
                  <a:srgbClr val="000000"/>
                </a:solidFill>
                <a:latin typeface="ChevinBold" pitchFamily="2" charset="0"/>
                <a:cs typeface="Arial" pitchFamily="34" charset="0"/>
              </a:rPr>
              <a:t>STRICTLY CONFIDENTIAL</a:t>
            </a:r>
            <a:endParaRPr lang="en-GB" sz="2000" i="1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84015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2662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9140" y="1049568"/>
            <a:ext cx="4720727" cy="533315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4449" y="1052522"/>
            <a:ext cx="4683625" cy="532923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28729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9141" y="1049558"/>
            <a:ext cx="9601769" cy="349556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5112" y="4689521"/>
            <a:ext cx="9542963" cy="16922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34754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160847" y="1048603"/>
            <a:ext cx="3099888" cy="533315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3"/>
          </p:nvPr>
        </p:nvSpPr>
        <p:spPr>
          <a:xfrm>
            <a:off x="3405190" y="1052530"/>
            <a:ext cx="3095624" cy="533315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half" idx="14"/>
          </p:nvPr>
        </p:nvSpPr>
        <p:spPr>
          <a:xfrm>
            <a:off x="6645275" y="1052530"/>
            <a:ext cx="3085390" cy="533315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14855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0027" y="1049573"/>
            <a:ext cx="4681538" cy="270329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4449" y="1052537"/>
            <a:ext cx="4683625" cy="270033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200027" y="3720505"/>
            <a:ext cx="4681538" cy="266678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5026676" y="3716365"/>
            <a:ext cx="4683625" cy="26638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00225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9140" y="1049568"/>
            <a:ext cx="4720727" cy="533315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4449" y="1052522"/>
            <a:ext cx="4683625" cy="532923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55081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73028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448800"/>
            <a:ext cx="84201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39805" y="3204554"/>
            <a:ext cx="7680325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35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71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07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438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79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157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51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8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Rectangle 8"/>
          <p:cNvSpPr>
            <a:spLocks noChangeArrowheads="1"/>
          </p:cNvSpPr>
          <p:nvPr userDrawn="1"/>
        </p:nvSpPr>
        <p:spPr bwMode="auto">
          <a:xfrm>
            <a:off x="831853" y="4319635"/>
            <a:ext cx="8242300" cy="5175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7191" tIns="43595" rIns="87191" bIns="43595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900" i="1" dirty="0">
                <a:solidFill>
                  <a:srgbClr val="000000"/>
                </a:solidFill>
                <a:latin typeface="ChevinBold" pitchFamily="2" charset="0"/>
                <a:cs typeface="Arial" pitchFamily="34" charset="0"/>
              </a:rPr>
              <a:t>STRICTLY CONFIDENTIAL</a:t>
            </a:r>
            <a:endParaRPr lang="en-GB" sz="1900" i="1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9137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2310" y="282574"/>
            <a:ext cx="9003109" cy="990000"/>
          </a:xfr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2309" y="1444637"/>
            <a:ext cx="7114445" cy="152717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456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4" name="TextBox 3" descr="CONFIDENTIAL_TAG_0xFFEE"/>
          <p:cNvSpPr txBox="1"/>
          <p:nvPr userDrawn="1"/>
        </p:nvSpPr>
        <p:spPr>
          <a:xfrm>
            <a:off x="359090" y="6396539"/>
            <a:ext cx="3455661" cy="276950"/>
          </a:xfrm>
          <a:prstGeom prst="rect">
            <a:avLst/>
          </a:prstGeom>
          <a:noFill/>
        </p:spPr>
        <p:txBody>
          <a:bodyPr vert="horz" lIns="91390" tIns="45696" rIns="91390" bIns="45696" rtlCol="0">
            <a:spAutoFit/>
          </a:bodyPr>
          <a:lstStyle/>
          <a:p>
            <a:pPr defTabSz="913905"/>
            <a:endParaRPr lang="en-GB" sz="1200" dirty="0">
              <a:solidFill>
                <a:srgbClr val="666666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4003577" y="6411925"/>
            <a:ext cx="1745890" cy="261562"/>
          </a:xfrm>
          <a:prstGeom prst="rect">
            <a:avLst/>
          </a:prstGeom>
          <a:noFill/>
        </p:spPr>
        <p:txBody>
          <a:bodyPr wrap="none" lIns="91390" tIns="45696" rIns="91390" bIns="45696" rtlCol="0">
            <a:spAutoFit/>
          </a:bodyPr>
          <a:lstStyle/>
          <a:p>
            <a:pPr algn="ctr" defTabSz="913905"/>
            <a:r>
              <a:rPr lang="en-US" sz="11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 STRICTEST CONFIDENCE</a:t>
            </a:r>
          </a:p>
        </p:txBody>
      </p:sp>
    </p:spTree>
    <p:extLst>
      <p:ext uri="{BB962C8B-B14F-4D97-AF65-F5344CB8AC3E}">
        <p14:creationId xmlns:p14="http://schemas.microsoft.com/office/powerpoint/2010/main" val="33717669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307" y="284400"/>
            <a:ext cx="9003108" cy="988652"/>
          </a:xfrm>
        </p:spPr>
        <p:txBody>
          <a:bodyPr/>
          <a:lstStyle>
            <a:lvl1pPr>
              <a:defRPr b="0">
                <a:latin typeface="ChevinLight" panose="02000300000000000000" pitchFamily="2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310" y="1441593"/>
            <a:ext cx="9003109" cy="4260715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57417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52310" y="282586"/>
            <a:ext cx="9003109" cy="984365"/>
          </a:xfr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52309" y="1444634"/>
            <a:ext cx="7114445" cy="137569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6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grpSp>
        <p:nvGrpSpPr>
          <p:cNvPr id="9" name="Group 8"/>
          <p:cNvGrpSpPr/>
          <p:nvPr userDrawn="1"/>
        </p:nvGrpSpPr>
        <p:grpSpPr bwMode="black">
          <a:xfrm>
            <a:off x="2962426" y="5329615"/>
            <a:ext cx="3974895" cy="461588"/>
            <a:chOff x="179388" y="3794126"/>
            <a:chExt cx="5186363" cy="652462"/>
          </a:xfrm>
        </p:grpSpPr>
        <p:sp>
          <p:nvSpPr>
            <p:cNvPr id="10" name="Freeform 7"/>
            <p:cNvSpPr>
              <a:spLocks noEditPoints="1"/>
            </p:cNvSpPr>
            <p:nvPr userDrawn="1"/>
          </p:nvSpPr>
          <p:spPr bwMode="black">
            <a:xfrm>
              <a:off x="179388" y="3805238"/>
              <a:ext cx="350838" cy="519113"/>
            </a:xfrm>
            <a:custGeom>
              <a:avLst/>
              <a:gdLst/>
              <a:ahLst/>
              <a:cxnLst>
                <a:cxn ang="0">
                  <a:pos x="121" y="114"/>
                </a:cxn>
                <a:cxn ang="0">
                  <a:pos x="121" y="282"/>
                </a:cxn>
                <a:cxn ang="0">
                  <a:pos x="222" y="282"/>
                </a:cxn>
                <a:cxn ang="0">
                  <a:pos x="252" y="280"/>
                </a:cxn>
                <a:cxn ang="0">
                  <a:pos x="276" y="272"/>
                </a:cxn>
                <a:cxn ang="0">
                  <a:pos x="295" y="259"/>
                </a:cxn>
                <a:cxn ang="0">
                  <a:pos x="307" y="239"/>
                </a:cxn>
                <a:cxn ang="0">
                  <a:pos x="311" y="215"/>
                </a:cxn>
                <a:cxn ang="0">
                  <a:pos x="311" y="180"/>
                </a:cxn>
                <a:cxn ang="0">
                  <a:pos x="307" y="158"/>
                </a:cxn>
                <a:cxn ang="0">
                  <a:pos x="297" y="138"/>
                </a:cxn>
                <a:cxn ang="0">
                  <a:pos x="280" y="124"/>
                </a:cxn>
                <a:cxn ang="0">
                  <a:pos x="256" y="116"/>
                </a:cxn>
                <a:cxn ang="0">
                  <a:pos x="226" y="114"/>
                </a:cxn>
                <a:cxn ang="0">
                  <a:pos x="121" y="114"/>
                </a:cxn>
                <a:cxn ang="0">
                  <a:pos x="59" y="0"/>
                </a:cxn>
                <a:cxn ang="0">
                  <a:pos x="228" y="0"/>
                </a:cxn>
                <a:cxn ang="0">
                  <a:pos x="276" y="4"/>
                </a:cxn>
                <a:cxn ang="0">
                  <a:pos x="317" y="12"/>
                </a:cxn>
                <a:cxn ang="0">
                  <a:pos x="353" y="27"/>
                </a:cxn>
                <a:cxn ang="0">
                  <a:pos x="383" y="47"/>
                </a:cxn>
                <a:cxn ang="0">
                  <a:pos x="404" y="73"/>
                </a:cxn>
                <a:cxn ang="0">
                  <a:pos x="422" y="104"/>
                </a:cxn>
                <a:cxn ang="0">
                  <a:pos x="430" y="140"/>
                </a:cxn>
                <a:cxn ang="0">
                  <a:pos x="434" y="180"/>
                </a:cxn>
                <a:cxn ang="0">
                  <a:pos x="434" y="215"/>
                </a:cxn>
                <a:cxn ang="0">
                  <a:pos x="430" y="257"/>
                </a:cxn>
                <a:cxn ang="0">
                  <a:pos x="416" y="294"/>
                </a:cxn>
                <a:cxn ang="0">
                  <a:pos x="396" y="326"/>
                </a:cxn>
                <a:cxn ang="0">
                  <a:pos x="367" y="352"/>
                </a:cxn>
                <a:cxn ang="0">
                  <a:pos x="333" y="371"/>
                </a:cxn>
                <a:cxn ang="0">
                  <a:pos x="387" y="468"/>
                </a:cxn>
                <a:cxn ang="0">
                  <a:pos x="436" y="567"/>
                </a:cxn>
                <a:cxn ang="0">
                  <a:pos x="442" y="591"/>
                </a:cxn>
                <a:cxn ang="0">
                  <a:pos x="438" y="610"/>
                </a:cxn>
                <a:cxn ang="0">
                  <a:pos x="428" y="628"/>
                </a:cxn>
                <a:cxn ang="0">
                  <a:pos x="414" y="642"/>
                </a:cxn>
                <a:cxn ang="0">
                  <a:pos x="396" y="650"/>
                </a:cxn>
                <a:cxn ang="0">
                  <a:pos x="377" y="654"/>
                </a:cxn>
                <a:cxn ang="0">
                  <a:pos x="361" y="652"/>
                </a:cxn>
                <a:cxn ang="0">
                  <a:pos x="347" y="646"/>
                </a:cxn>
                <a:cxn ang="0">
                  <a:pos x="335" y="634"/>
                </a:cxn>
                <a:cxn ang="0">
                  <a:pos x="323" y="616"/>
                </a:cxn>
                <a:cxn ang="0">
                  <a:pos x="268" y="504"/>
                </a:cxn>
                <a:cxn ang="0">
                  <a:pos x="204" y="393"/>
                </a:cxn>
                <a:cxn ang="0">
                  <a:pos x="121" y="393"/>
                </a:cxn>
                <a:cxn ang="0">
                  <a:pos x="121" y="593"/>
                </a:cxn>
                <a:cxn ang="0">
                  <a:pos x="117" y="616"/>
                </a:cxn>
                <a:cxn ang="0">
                  <a:pos x="103" y="636"/>
                </a:cxn>
                <a:cxn ang="0">
                  <a:pos x="85" y="648"/>
                </a:cxn>
                <a:cxn ang="0">
                  <a:pos x="59" y="654"/>
                </a:cxn>
                <a:cxn ang="0">
                  <a:pos x="38" y="648"/>
                </a:cxn>
                <a:cxn ang="0">
                  <a:pos x="18" y="636"/>
                </a:cxn>
                <a:cxn ang="0">
                  <a:pos x="4" y="616"/>
                </a:cxn>
                <a:cxn ang="0">
                  <a:pos x="0" y="593"/>
                </a:cxn>
                <a:cxn ang="0">
                  <a:pos x="0" y="61"/>
                </a:cxn>
                <a:cxn ang="0">
                  <a:pos x="4" y="37"/>
                </a:cxn>
                <a:cxn ang="0">
                  <a:pos x="18" y="18"/>
                </a:cxn>
                <a:cxn ang="0">
                  <a:pos x="38" y="6"/>
                </a:cxn>
                <a:cxn ang="0">
                  <a:pos x="59" y="0"/>
                </a:cxn>
              </a:cxnLst>
              <a:rect l="0" t="0" r="r" b="b"/>
              <a:pathLst>
                <a:path w="442" h="654">
                  <a:moveTo>
                    <a:pt x="121" y="114"/>
                  </a:moveTo>
                  <a:lnTo>
                    <a:pt x="121" y="282"/>
                  </a:lnTo>
                  <a:lnTo>
                    <a:pt x="222" y="282"/>
                  </a:lnTo>
                  <a:lnTo>
                    <a:pt x="252" y="280"/>
                  </a:lnTo>
                  <a:lnTo>
                    <a:pt x="276" y="272"/>
                  </a:lnTo>
                  <a:lnTo>
                    <a:pt x="295" y="259"/>
                  </a:lnTo>
                  <a:lnTo>
                    <a:pt x="307" y="239"/>
                  </a:lnTo>
                  <a:lnTo>
                    <a:pt x="311" y="215"/>
                  </a:lnTo>
                  <a:lnTo>
                    <a:pt x="311" y="180"/>
                  </a:lnTo>
                  <a:lnTo>
                    <a:pt x="307" y="158"/>
                  </a:lnTo>
                  <a:lnTo>
                    <a:pt x="297" y="138"/>
                  </a:lnTo>
                  <a:lnTo>
                    <a:pt x="280" y="124"/>
                  </a:lnTo>
                  <a:lnTo>
                    <a:pt x="256" y="116"/>
                  </a:lnTo>
                  <a:lnTo>
                    <a:pt x="226" y="114"/>
                  </a:lnTo>
                  <a:lnTo>
                    <a:pt x="121" y="114"/>
                  </a:lnTo>
                  <a:close/>
                  <a:moveTo>
                    <a:pt x="59" y="0"/>
                  </a:moveTo>
                  <a:lnTo>
                    <a:pt x="228" y="0"/>
                  </a:lnTo>
                  <a:lnTo>
                    <a:pt x="276" y="4"/>
                  </a:lnTo>
                  <a:lnTo>
                    <a:pt x="317" y="12"/>
                  </a:lnTo>
                  <a:lnTo>
                    <a:pt x="353" y="27"/>
                  </a:lnTo>
                  <a:lnTo>
                    <a:pt x="383" y="47"/>
                  </a:lnTo>
                  <a:lnTo>
                    <a:pt x="404" y="73"/>
                  </a:lnTo>
                  <a:lnTo>
                    <a:pt x="422" y="104"/>
                  </a:lnTo>
                  <a:lnTo>
                    <a:pt x="430" y="140"/>
                  </a:lnTo>
                  <a:lnTo>
                    <a:pt x="434" y="180"/>
                  </a:lnTo>
                  <a:lnTo>
                    <a:pt x="434" y="215"/>
                  </a:lnTo>
                  <a:lnTo>
                    <a:pt x="430" y="257"/>
                  </a:lnTo>
                  <a:lnTo>
                    <a:pt x="416" y="294"/>
                  </a:lnTo>
                  <a:lnTo>
                    <a:pt x="396" y="326"/>
                  </a:lnTo>
                  <a:lnTo>
                    <a:pt x="367" y="352"/>
                  </a:lnTo>
                  <a:lnTo>
                    <a:pt x="333" y="371"/>
                  </a:lnTo>
                  <a:lnTo>
                    <a:pt x="387" y="468"/>
                  </a:lnTo>
                  <a:lnTo>
                    <a:pt x="436" y="567"/>
                  </a:lnTo>
                  <a:lnTo>
                    <a:pt x="442" y="591"/>
                  </a:lnTo>
                  <a:lnTo>
                    <a:pt x="438" y="610"/>
                  </a:lnTo>
                  <a:lnTo>
                    <a:pt x="428" y="628"/>
                  </a:lnTo>
                  <a:lnTo>
                    <a:pt x="414" y="642"/>
                  </a:lnTo>
                  <a:lnTo>
                    <a:pt x="396" y="650"/>
                  </a:lnTo>
                  <a:lnTo>
                    <a:pt x="377" y="654"/>
                  </a:lnTo>
                  <a:lnTo>
                    <a:pt x="361" y="652"/>
                  </a:lnTo>
                  <a:lnTo>
                    <a:pt x="347" y="646"/>
                  </a:lnTo>
                  <a:lnTo>
                    <a:pt x="335" y="634"/>
                  </a:lnTo>
                  <a:lnTo>
                    <a:pt x="323" y="616"/>
                  </a:lnTo>
                  <a:lnTo>
                    <a:pt x="268" y="504"/>
                  </a:lnTo>
                  <a:lnTo>
                    <a:pt x="204" y="393"/>
                  </a:lnTo>
                  <a:lnTo>
                    <a:pt x="121" y="393"/>
                  </a:lnTo>
                  <a:lnTo>
                    <a:pt x="121" y="593"/>
                  </a:lnTo>
                  <a:lnTo>
                    <a:pt x="117" y="616"/>
                  </a:lnTo>
                  <a:lnTo>
                    <a:pt x="103" y="636"/>
                  </a:lnTo>
                  <a:lnTo>
                    <a:pt x="85" y="648"/>
                  </a:lnTo>
                  <a:lnTo>
                    <a:pt x="59" y="654"/>
                  </a:lnTo>
                  <a:lnTo>
                    <a:pt x="38" y="648"/>
                  </a:lnTo>
                  <a:lnTo>
                    <a:pt x="18" y="636"/>
                  </a:lnTo>
                  <a:lnTo>
                    <a:pt x="4" y="616"/>
                  </a:lnTo>
                  <a:lnTo>
                    <a:pt x="0" y="593"/>
                  </a:lnTo>
                  <a:lnTo>
                    <a:pt x="0" y="61"/>
                  </a:lnTo>
                  <a:lnTo>
                    <a:pt x="4" y="37"/>
                  </a:lnTo>
                  <a:lnTo>
                    <a:pt x="18" y="18"/>
                  </a:lnTo>
                  <a:lnTo>
                    <a:pt x="38" y="6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black">
            <a:xfrm>
              <a:off x="590551" y="3948113"/>
              <a:ext cx="303213" cy="373063"/>
            </a:xfrm>
            <a:custGeom>
              <a:avLst/>
              <a:gdLst/>
              <a:ahLst/>
              <a:cxnLst>
                <a:cxn ang="0">
                  <a:pos x="193" y="108"/>
                </a:cxn>
                <a:cxn ang="0">
                  <a:pos x="167" y="110"/>
                </a:cxn>
                <a:cxn ang="0">
                  <a:pos x="147" y="122"/>
                </a:cxn>
                <a:cxn ang="0">
                  <a:pos x="131" y="138"/>
                </a:cxn>
                <a:cxn ang="0">
                  <a:pos x="123" y="160"/>
                </a:cxn>
                <a:cxn ang="0">
                  <a:pos x="121" y="189"/>
                </a:cxn>
                <a:cxn ang="0">
                  <a:pos x="121" y="282"/>
                </a:cxn>
                <a:cxn ang="0">
                  <a:pos x="123" y="310"/>
                </a:cxn>
                <a:cxn ang="0">
                  <a:pos x="131" y="334"/>
                </a:cxn>
                <a:cxn ang="0">
                  <a:pos x="147" y="349"/>
                </a:cxn>
                <a:cxn ang="0">
                  <a:pos x="167" y="359"/>
                </a:cxn>
                <a:cxn ang="0">
                  <a:pos x="193" y="363"/>
                </a:cxn>
                <a:cxn ang="0">
                  <a:pos x="218" y="359"/>
                </a:cxn>
                <a:cxn ang="0">
                  <a:pos x="238" y="349"/>
                </a:cxn>
                <a:cxn ang="0">
                  <a:pos x="252" y="334"/>
                </a:cxn>
                <a:cxn ang="0">
                  <a:pos x="260" y="310"/>
                </a:cxn>
                <a:cxn ang="0">
                  <a:pos x="262" y="282"/>
                </a:cxn>
                <a:cxn ang="0">
                  <a:pos x="262" y="189"/>
                </a:cxn>
                <a:cxn ang="0">
                  <a:pos x="260" y="160"/>
                </a:cxn>
                <a:cxn ang="0">
                  <a:pos x="252" y="138"/>
                </a:cxn>
                <a:cxn ang="0">
                  <a:pos x="238" y="122"/>
                </a:cxn>
                <a:cxn ang="0">
                  <a:pos x="218" y="110"/>
                </a:cxn>
                <a:cxn ang="0">
                  <a:pos x="193" y="108"/>
                </a:cxn>
                <a:cxn ang="0">
                  <a:pos x="193" y="0"/>
                </a:cxn>
                <a:cxn ang="0">
                  <a:pos x="238" y="4"/>
                </a:cxn>
                <a:cxn ang="0">
                  <a:pos x="278" y="15"/>
                </a:cxn>
                <a:cxn ang="0">
                  <a:pos x="310" y="31"/>
                </a:cxn>
                <a:cxn ang="0">
                  <a:pos x="337" y="55"/>
                </a:cxn>
                <a:cxn ang="0">
                  <a:pos x="357" y="83"/>
                </a:cxn>
                <a:cxn ang="0">
                  <a:pos x="371" y="116"/>
                </a:cxn>
                <a:cxn ang="0">
                  <a:pos x="381" y="150"/>
                </a:cxn>
                <a:cxn ang="0">
                  <a:pos x="383" y="187"/>
                </a:cxn>
                <a:cxn ang="0">
                  <a:pos x="383" y="282"/>
                </a:cxn>
                <a:cxn ang="0">
                  <a:pos x="381" y="320"/>
                </a:cxn>
                <a:cxn ang="0">
                  <a:pos x="371" y="355"/>
                </a:cxn>
                <a:cxn ang="0">
                  <a:pos x="357" y="387"/>
                </a:cxn>
                <a:cxn ang="0">
                  <a:pos x="337" y="415"/>
                </a:cxn>
                <a:cxn ang="0">
                  <a:pos x="310" y="438"/>
                </a:cxn>
                <a:cxn ang="0">
                  <a:pos x="278" y="456"/>
                </a:cxn>
                <a:cxn ang="0">
                  <a:pos x="238" y="466"/>
                </a:cxn>
                <a:cxn ang="0">
                  <a:pos x="193" y="470"/>
                </a:cxn>
                <a:cxn ang="0">
                  <a:pos x="145" y="466"/>
                </a:cxn>
                <a:cxn ang="0">
                  <a:pos x="105" y="456"/>
                </a:cxn>
                <a:cxn ang="0">
                  <a:pos x="74" y="438"/>
                </a:cxn>
                <a:cxn ang="0">
                  <a:pos x="46" y="415"/>
                </a:cxn>
                <a:cxn ang="0">
                  <a:pos x="26" y="387"/>
                </a:cxn>
                <a:cxn ang="0">
                  <a:pos x="12" y="355"/>
                </a:cxn>
                <a:cxn ang="0">
                  <a:pos x="4" y="320"/>
                </a:cxn>
                <a:cxn ang="0">
                  <a:pos x="0" y="282"/>
                </a:cxn>
                <a:cxn ang="0">
                  <a:pos x="0" y="187"/>
                </a:cxn>
                <a:cxn ang="0">
                  <a:pos x="4" y="150"/>
                </a:cxn>
                <a:cxn ang="0">
                  <a:pos x="12" y="116"/>
                </a:cxn>
                <a:cxn ang="0">
                  <a:pos x="26" y="83"/>
                </a:cxn>
                <a:cxn ang="0">
                  <a:pos x="46" y="55"/>
                </a:cxn>
                <a:cxn ang="0">
                  <a:pos x="74" y="31"/>
                </a:cxn>
                <a:cxn ang="0">
                  <a:pos x="105" y="15"/>
                </a:cxn>
                <a:cxn ang="0">
                  <a:pos x="145" y="4"/>
                </a:cxn>
                <a:cxn ang="0">
                  <a:pos x="193" y="0"/>
                </a:cxn>
              </a:cxnLst>
              <a:rect l="0" t="0" r="r" b="b"/>
              <a:pathLst>
                <a:path w="383" h="470">
                  <a:moveTo>
                    <a:pt x="193" y="108"/>
                  </a:moveTo>
                  <a:lnTo>
                    <a:pt x="167" y="110"/>
                  </a:lnTo>
                  <a:lnTo>
                    <a:pt x="147" y="122"/>
                  </a:lnTo>
                  <a:lnTo>
                    <a:pt x="131" y="138"/>
                  </a:lnTo>
                  <a:lnTo>
                    <a:pt x="123" y="160"/>
                  </a:lnTo>
                  <a:lnTo>
                    <a:pt x="121" y="189"/>
                  </a:lnTo>
                  <a:lnTo>
                    <a:pt x="121" y="282"/>
                  </a:lnTo>
                  <a:lnTo>
                    <a:pt x="123" y="310"/>
                  </a:lnTo>
                  <a:lnTo>
                    <a:pt x="131" y="334"/>
                  </a:lnTo>
                  <a:lnTo>
                    <a:pt x="147" y="349"/>
                  </a:lnTo>
                  <a:lnTo>
                    <a:pt x="167" y="359"/>
                  </a:lnTo>
                  <a:lnTo>
                    <a:pt x="193" y="363"/>
                  </a:lnTo>
                  <a:lnTo>
                    <a:pt x="218" y="359"/>
                  </a:lnTo>
                  <a:lnTo>
                    <a:pt x="238" y="349"/>
                  </a:lnTo>
                  <a:lnTo>
                    <a:pt x="252" y="334"/>
                  </a:lnTo>
                  <a:lnTo>
                    <a:pt x="260" y="310"/>
                  </a:lnTo>
                  <a:lnTo>
                    <a:pt x="262" y="282"/>
                  </a:lnTo>
                  <a:lnTo>
                    <a:pt x="262" y="189"/>
                  </a:lnTo>
                  <a:lnTo>
                    <a:pt x="260" y="160"/>
                  </a:lnTo>
                  <a:lnTo>
                    <a:pt x="252" y="138"/>
                  </a:lnTo>
                  <a:lnTo>
                    <a:pt x="238" y="122"/>
                  </a:lnTo>
                  <a:lnTo>
                    <a:pt x="218" y="110"/>
                  </a:lnTo>
                  <a:lnTo>
                    <a:pt x="193" y="108"/>
                  </a:lnTo>
                  <a:close/>
                  <a:moveTo>
                    <a:pt x="193" y="0"/>
                  </a:moveTo>
                  <a:lnTo>
                    <a:pt x="238" y="4"/>
                  </a:lnTo>
                  <a:lnTo>
                    <a:pt x="278" y="15"/>
                  </a:lnTo>
                  <a:lnTo>
                    <a:pt x="310" y="31"/>
                  </a:lnTo>
                  <a:lnTo>
                    <a:pt x="337" y="55"/>
                  </a:lnTo>
                  <a:lnTo>
                    <a:pt x="357" y="83"/>
                  </a:lnTo>
                  <a:lnTo>
                    <a:pt x="371" y="116"/>
                  </a:lnTo>
                  <a:lnTo>
                    <a:pt x="381" y="150"/>
                  </a:lnTo>
                  <a:lnTo>
                    <a:pt x="383" y="187"/>
                  </a:lnTo>
                  <a:lnTo>
                    <a:pt x="383" y="282"/>
                  </a:lnTo>
                  <a:lnTo>
                    <a:pt x="381" y="320"/>
                  </a:lnTo>
                  <a:lnTo>
                    <a:pt x="371" y="355"/>
                  </a:lnTo>
                  <a:lnTo>
                    <a:pt x="357" y="387"/>
                  </a:lnTo>
                  <a:lnTo>
                    <a:pt x="337" y="415"/>
                  </a:lnTo>
                  <a:lnTo>
                    <a:pt x="310" y="438"/>
                  </a:lnTo>
                  <a:lnTo>
                    <a:pt x="278" y="456"/>
                  </a:lnTo>
                  <a:lnTo>
                    <a:pt x="238" y="466"/>
                  </a:lnTo>
                  <a:lnTo>
                    <a:pt x="193" y="470"/>
                  </a:lnTo>
                  <a:lnTo>
                    <a:pt x="145" y="466"/>
                  </a:lnTo>
                  <a:lnTo>
                    <a:pt x="105" y="456"/>
                  </a:lnTo>
                  <a:lnTo>
                    <a:pt x="74" y="438"/>
                  </a:lnTo>
                  <a:lnTo>
                    <a:pt x="46" y="415"/>
                  </a:lnTo>
                  <a:lnTo>
                    <a:pt x="26" y="387"/>
                  </a:lnTo>
                  <a:lnTo>
                    <a:pt x="12" y="355"/>
                  </a:lnTo>
                  <a:lnTo>
                    <a:pt x="4" y="320"/>
                  </a:lnTo>
                  <a:lnTo>
                    <a:pt x="0" y="282"/>
                  </a:lnTo>
                  <a:lnTo>
                    <a:pt x="0" y="187"/>
                  </a:lnTo>
                  <a:lnTo>
                    <a:pt x="4" y="150"/>
                  </a:lnTo>
                  <a:lnTo>
                    <a:pt x="12" y="116"/>
                  </a:lnTo>
                  <a:lnTo>
                    <a:pt x="26" y="83"/>
                  </a:lnTo>
                  <a:lnTo>
                    <a:pt x="46" y="55"/>
                  </a:lnTo>
                  <a:lnTo>
                    <a:pt x="74" y="31"/>
                  </a:lnTo>
                  <a:lnTo>
                    <a:pt x="105" y="15"/>
                  </a:lnTo>
                  <a:lnTo>
                    <a:pt x="145" y="4"/>
                  </a:lnTo>
                  <a:lnTo>
                    <a:pt x="193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black">
            <a:xfrm>
              <a:off x="930276" y="3948113"/>
              <a:ext cx="325438" cy="498475"/>
            </a:xfrm>
            <a:custGeom>
              <a:avLst/>
              <a:gdLst/>
              <a:ahLst/>
              <a:cxnLst>
                <a:cxn ang="0">
                  <a:pos x="77" y="0"/>
                </a:cxn>
                <a:cxn ang="0">
                  <a:pos x="93" y="2"/>
                </a:cxn>
                <a:cxn ang="0">
                  <a:pos x="107" y="9"/>
                </a:cxn>
                <a:cxn ang="0">
                  <a:pos x="119" y="23"/>
                </a:cxn>
                <a:cxn ang="0">
                  <a:pos x="126" y="41"/>
                </a:cxn>
                <a:cxn ang="0">
                  <a:pos x="144" y="94"/>
                </a:cxn>
                <a:cxn ang="0">
                  <a:pos x="164" y="158"/>
                </a:cxn>
                <a:cxn ang="0">
                  <a:pos x="188" y="227"/>
                </a:cxn>
                <a:cxn ang="0">
                  <a:pos x="214" y="298"/>
                </a:cxn>
                <a:cxn ang="0">
                  <a:pos x="295" y="41"/>
                </a:cxn>
                <a:cxn ang="0">
                  <a:pos x="305" y="21"/>
                </a:cxn>
                <a:cxn ang="0">
                  <a:pos x="319" y="9"/>
                </a:cxn>
                <a:cxn ang="0">
                  <a:pos x="333" y="2"/>
                </a:cxn>
                <a:cxn ang="0">
                  <a:pos x="351" y="0"/>
                </a:cxn>
                <a:cxn ang="0">
                  <a:pos x="368" y="2"/>
                </a:cxn>
                <a:cxn ang="0">
                  <a:pos x="384" y="9"/>
                </a:cxn>
                <a:cxn ang="0">
                  <a:pos x="398" y="21"/>
                </a:cxn>
                <a:cxn ang="0">
                  <a:pos x="406" y="37"/>
                </a:cxn>
                <a:cxn ang="0">
                  <a:pos x="410" y="57"/>
                </a:cxn>
                <a:cxn ang="0">
                  <a:pos x="406" y="81"/>
                </a:cxn>
                <a:cxn ang="0">
                  <a:pos x="293" y="401"/>
                </a:cxn>
                <a:cxn ang="0">
                  <a:pos x="269" y="458"/>
                </a:cxn>
                <a:cxn ang="0">
                  <a:pos x="245" y="507"/>
                </a:cxn>
                <a:cxn ang="0">
                  <a:pos x="218" y="547"/>
                </a:cxn>
                <a:cxn ang="0">
                  <a:pos x="186" y="579"/>
                </a:cxn>
                <a:cxn ang="0">
                  <a:pos x="152" y="604"/>
                </a:cxn>
                <a:cxn ang="0">
                  <a:pos x="111" y="620"/>
                </a:cxn>
                <a:cxn ang="0">
                  <a:pos x="65" y="628"/>
                </a:cxn>
                <a:cxn ang="0">
                  <a:pos x="43" y="626"/>
                </a:cxn>
                <a:cxn ang="0">
                  <a:pos x="23" y="618"/>
                </a:cxn>
                <a:cxn ang="0">
                  <a:pos x="12" y="604"/>
                </a:cxn>
                <a:cxn ang="0">
                  <a:pos x="2" y="588"/>
                </a:cxn>
                <a:cxn ang="0">
                  <a:pos x="0" y="571"/>
                </a:cxn>
                <a:cxn ang="0">
                  <a:pos x="2" y="553"/>
                </a:cxn>
                <a:cxn ang="0">
                  <a:pos x="8" y="539"/>
                </a:cxn>
                <a:cxn ang="0">
                  <a:pos x="17" y="525"/>
                </a:cxn>
                <a:cxn ang="0">
                  <a:pos x="33" y="517"/>
                </a:cxn>
                <a:cxn ang="0">
                  <a:pos x="53" y="511"/>
                </a:cxn>
                <a:cxn ang="0">
                  <a:pos x="75" y="509"/>
                </a:cxn>
                <a:cxn ang="0">
                  <a:pos x="97" y="504"/>
                </a:cxn>
                <a:cxn ang="0">
                  <a:pos x="117" y="492"/>
                </a:cxn>
                <a:cxn ang="0">
                  <a:pos x="138" y="474"/>
                </a:cxn>
                <a:cxn ang="0">
                  <a:pos x="158" y="446"/>
                </a:cxn>
                <a:cxn ang="0">
                  <a:pos x="134" y="391"/>
                </a:cxn>
                <a:cxn ang="0">
                  <a:pos x="113" y="332"/>
                </a:cxn>
                <a:cxn ang="0">
                  <a:pos x="91" y="274"/>
                </a:cxn>
                <a:cxn ang="0">
                  <a:pos x="69" y="217"/>
                </a:cxn>
                <a:cxn ang="0">
                  <a:pos x="49" y="164"/>
                </a:cxn>
                <a:cxn ang="0">
                  <a:pos x="33" y="114"/>
                </a:cxn>
                <a:cxn ang="0">
                  <a:pos x="19" y="73"/>
                </a:cxn>
                <a:cxn ang="0">
                  <a:pos x="17" y="47"/>
                </a:cxn>
                <a:cxn ang="0">
                  <a:pos x="23" y="27"/>
                </a:cxn>
                <a:cxn ang="0">
                  <a:pos x="37" y="11"/>
                </a:cxn>
                <a:cxn ang="0">
                  <a:pos x="57" y="4"/>
                </a:cxn>
                <a:cxn ang="0">
                  <a:pos x="77" y="0"/>
                </a:cxn>
              </a:cxnLst>
              <a:rect l="0" t="0" r="r" b="b"/>
              <a:pathLst>
                <a:path w="410" h="628">
                  <a:moveTo>
                    <a:pt x="77" y="0"/>
                  </a:moveTo>
                  <a:lnTo>
                    <a:pt x="93" y="2"/>
                  </a:lnTo>
                  <a:lnTo>
                    <a:pt x="107" y="9"/>
                  </a:lnTo>
                  <a:lnTo>
                    <a:pt x="119" y="23"/>
                  </a:lnTo>
                  <a:lnTo>
                    <a:pt x="126" y="41"/>
                  </a:lnTo>
                  <a:lnTo>
                    <a:pt x="144" y="94"/>
                  </a:lnTo>
                  <a:lnTo>
                    <a:pt x="164" y="158"/>
                  </a:lnTo>
                  <a:lnTo>
                    <a:pt x="188" y="227"/>
                  </a:lnTo>
                  <a:lnTo>
                    <a:pt x="214" y="298"/>
                  </a:lnTo>
                  <a:lnTo>
                    <a:pt x="295" y="41"/>
                  </a:lnTo>
                  <a:lnTo>
                    <a:pt x="305" y="21"/>
                  </a:lnTo>
                  <a:lnTo>
                    <a:pt x="319" y="9"/>
                  </a:lnTo>
                  <a:lnTo>
                    <a:pt x="333" y="2"/>
                  </a:lnTo>
                  <a:lnTo>
                    <a:pt x="351" y="0"/>
                  </a:lnTo>
                  <a:lnTo>
                    <a:pt x="368" y="2"/>
                  </a:lnTo>
                  <a:lnTo>
                    <a:pt x="384" y="9"/>
                  </a:lnTo>
                  <a:lnTo>
                    <a:pt x="398" y="21"/>
                  </a:lnTo>
                  <a:lnTo>
                    <a:pt x="406" y="37"/>
                  </a:lnTo>
                  <a:lnTo>
                    <a:pt x="410" y="57"/>
                  </a:lnTo>
                  <a:lnTo>
                    <a:pt x="406" y="81"/>
                  </a:lnTo>
                  <a:lnTo>
                    <a:pt x="293" y="401"/>
                  </a:lnTo>
                  <a:lnTo>
                    <a:pt x="269" y="458"/>
                  </a:lnTo>
                  <a:lnTo>
                    <a:pt x="245" y="507"/>
                  </a:lnTo>
                  <a:lnTo>
                    <a:pt x="218" y="547"/>
                  </a:lnTo>
                  <a:lnTo>
                    <a:pt x="186" y="579"/>
                  </a:lnTo>
                  <a:lnTo>
                    <a:pt x="152" y="604"/>
                  </a:lnTo>
                  <a:lnTo>
                    <a:pt x="111" y="620"/>
                  </a:lnTo>
                  <a:lnTo>
                    <a:pt x="65" y="628"/>
                  </a:lnTo>
                  <a:lnTo>
                    <a:pt x="43" y="626"/>
                  </a:lnTo>
                  <a:lnTo>
                    <a:pt x="23" y="618"/>
                  </a:lnTo>
                  <a:lnTo>
                    <a:pt x="12" y="604"/>
                  </a:lnTo>
                  <a:lnTo>
                    <a:pt x="2" y="588"/>
                  </a:lnTo>
                  <a:lnTo>
                    <a:pt x="0" y="571"/>
                  </a:lnTo>
                  <a:lnTo>
                    <a:pt x="2" y="553"/>
                  </a:lnTo>
                  <a:lnTo>
                    <a:pt x="8" y="539"/>
                  </a:lnTo>
                  <a:lnTo>
                    <a:pt x="17" y="525"/>
                  </a:lnTo>
                  <a:lnTo>
                    <a:pt x="33" y="517"/>
                  </a:lnTo>
                  <a:lnTo>
                    <a:pt x="53" y="511"/>
                  </a:lnTo>
                  <a:lnTo>
                    <a:pt x="75" y="509"/>
                  </a:lnTo>
                  <a:lnTo>
                    <a:pt x="97" y="504"/>
                  </a:lnTo>
                  <a:lnTo>
                    <a:pt x="117" y="492"/>
                  </a:lnTo>
                  <a:lnTo>
                    <a:pt x="138" y="474"/>
                  </a:lnTo>
                  <a:lnTo>
                    <a:pt x="158" y="446"/>
                  </a:lnTo>
                  <a:lnTo>
                    <a:pt x="134" y="391"/>
                  </a:lnTo>
                  <a:lnTo>
                    <a:pt x="113" y="332"/>
                  </a:lnTo>
                  <a:lnTo>
                    <a:pt x="91" y="274"/>
                  </a:lnTo>
                  <a:lnTo>
                    <a:pt x="69" y="217"/>
                  </a:lnTo>
                  <a:lnTo>
                    <a:pt x="49" y="164"/>
                  </a:lnTo>
                  <a:lnTo>
                    <a:pt x="33" y="114"/>
                  </a:lnTo>
                  <a:lnTo>
                    <a:pt x="19" y="73"/>
                  </a:lnTo>
                  <a:lnTo>
                    <a:pt x="17" y="47"/>
                  </a:lnTo>
                  <a:lnTo>
                    <a:pt x="23" y="27"/>
                  </a:lnTo>
                  <a:lnTo>
                    <a:pt x="37" y="11"/>
                  </a:lnTo>
                  <a:lnTo>
                    <a:pt x="57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 userDrawn="1"/>
          </p:nvSpPr>
          <p:spPr bwMode="black">
            <a:xfrm>
              <a:off x="1293813" y="3948113"/>
              <a:ext cx="328613" cy="373063"/>
            </a:xfrm>
            <a:custGeom>
              <a:avLst/>
              <a:gdLst/>
              <a:ahLst/>
              <a:cxnLst>
                <a:cxn ang="0">
                  <a:pos x="162" y="280"/>
                </a:cxn>
                <a:cxn ang="0">
                  <a:pos x="128" y="298"/>
                </a:cxn>
                <a:cxn ang="0">
                  <a:pos x="118" y="328"/>
                </a:cxn>
                <a:cxn ang="0">
                  <a:pos x="120" y="351"/>
                </a:cxn>
                <a:cxn ang="0">
                  <a:pos x="140" y="377"/>
                </a:cxn>
                <a:cxn ang="0">
                  <a:pos x="184" y="385"/>
                </a:cxn>
                <a:cxn ang="0">
                  <a:pos x="228" y="375"/>
                </a:cxn>
                <a:cxn ang="0">
                  <a:pos x="251" y="341"/>
                </a:cxn>
                <a:cxn ang="0">
                  <a:pos x="253" y="278"/>
                </a:cxn>
                <a:cxn ang="0">
                  <a:pos x="196" y="0"/>
                </a:cxn>
                <a:cxn ang="0">
                  <a:pos x="279" y="11"/>
                </a:cxn>
                <a:cxn ang="0">
                  <a:pos x="333" y="45"/>
                </a:cxn>
                <a:cxn ang="0">
                  <a:pos x="364" y="104"/>
                </a:cxn>
                <a:cxn ang="0">
                  <a:pos x="374" y="189"/>
                </a:cxn>
                <a:cxn ang="0">
                  <a:pos x="376" y="355"/>
                </a:cxn>
                <a:cxn ang="0">
                  <a:pos x="388" y="379"/>
                </a:cxn>
                <a:cxn ang="0">
                  <a:pos x="406" y="395"/>
                </a:cxn>
                <a:cxn ang="0">
                  <a:pos x="414" y="422"/>
                </a:cxn>
                <a:cxn ang="0">
                  <a:pos x="402" y="454"/>
                </a:cxn>
                <a:cxn ang="0">
                  <a:pos x="374" y="468"/>
                </a:cxn>
                <a:cxn ang="0">
                  <a:pos x="331" y="468"/>
                </a:cxn>
                <a:cxn ang="0">
                  <a:pos x="299" y="452"/>
                </a:cxn>
                <a:cxn ang="0">
                  <a:pos x="285" y="440"/>
                </a:cxn>
                <a:cxn ang="0">
                  <a:pos x="253" y="452"/>
                </a:cxn>
                <a:cxn ang="0">
                  <a:pos x="190" y="468"/>
                </a:cxn>
                <a:cxn ang="0">
                  <a:pos x="117" y="468"/>
                </a:cxn>
                <a:cxn ang="0">
                  <a:pos x="51" y="442"/>
                </a:cxn>
                <a:cxn ang="0">
                  <a:pos x="11" y="397"/>
                </a:cxn>
                <a:cxn ang="0">
                  <a:pos x="0" y="332"/>
                </a:cxn>
                <a:cxn ang="0">
                  <a:pos x="4" y="292"/>
                </a:cxn>
                <a:cxn ang="0">
                  <a:pos x="33" y="239"/>
                </a:cxn>
                <a:cxn ang="0">
                  <a:pos x="91" y="203"/>
                </a:cxn>
                <a:cxn ang="0">
                  <a:pos x="174" y="191"/>
                </a:cxn>
                <a:cxn ang="0">
                  <a:pos x="253" y="175"/>
                </a:cxn>
                <a:cxn ang="0">
                  <a:pos x="249" y="132"/>
                </a:cxn>
                <a:cxn ang="0">
                  <a:pos x="228" y="104"/>
                </a:cxn>
                <a:cxn ang="0">
                  <a:pos x="186" y="94"/>
                </a:cxn>
                <a:cxn ang="0">
                  <a:pos x="128" y="104"/>
                </a:cxn>
                <a:cxn ang="0">
                  <a:pos x="85" y="120"/>
                </a:cxn>
                <a:cxn ang="0">
                  <a:pos x="51" y="110"/>
                </a:cxn>
                <a:cxn ang="0">
                  <a:pos x="31" y="81"/>
                </a:cxn>
                <a:cxn ang="0">
                  <a:pos x="39" y="47"/>
                </a:cxn>
                <a:cxn ang="0">
                  <a:pos x="87" y="17"/>
                </a:cxn>
                <a:cxn ang="0">
                  <a:pos x="160" y="2"/>
                </a:cxn>
              </a:cxnLst>
              <a:rect l="0" t="0" r="r" b="b"/>
              <a:pathLst>
                <a:path w="414" h="470">
                  <a:moveTo>
                    <a:pt x="190" y="278"/>
                  </a:moveTo>
                  <a:lnTo>
                    <a:pt x="162" y="280"/>
                  </a:lnTo>
                  <a:lnTo>
                    <a:pt x="142" y="286"/>
                  </a:lnTo>
                  <a:lnTo>
                    <a:pt x="128" y="298"/>
                  </a:lnTo>
                  <a:lnTo>
                    <a:pt x="120" y="312"/>
                  </a:lnTo>
                  <a:lnTo>
                    <a:pt x="118" y="328"/>
                  </a:lnTo>
                  <a:lnTo>
                    <a:pt x="118" y="334"/>
                  </a:lnTo>
                  <a:lnTo>
                    <a:pt x="120" y="351"/>
                  </a:lnTo>
                  <a:lnTo>
                    <a:pt x="128" y="367"/>
                  </a:lnTo>
                  <a:lnTo>
                    <a:pt x="140" y="377"/>
                  </a:lnTo>
                  <a:lnTo>
                    <a:pt x="160" y="383"/>
                  </a:lnTo>
                  <a:lnTo>
                    <a:pt x="184" y="385"/>
                  </a:lnTo>
                  <a:lnTo>
                    <a:pt x="208" y="383"/>
                  </a:lnTo>
                  <a:lnTo>
                    <a:pt x="228" y="375"/>
                  </a:lnTo>
                  <a:lnTo>
                    <a:pt x="241" y="361"/>
                  </a:lnTo>
                  <a:lnTo>
                    <a:pt x="251" y="341"/>
                  </a:lnTo>
                  <a:lnTo>
                    <a:pt x="253" y="316"/>
                  </a:lnTo>
                  <a:lnTo>
                    <a:pt x="253" y="278"/>
                  </a:lnTo>
                  <a:lnTo>
                    <a:pt x="190" y="278"/>
                  </a:lnTo>
                  <a:close/>
                  <a:moveTo>
                    <a:pt x="196" y="0"/>
                  </a:moveTo>
                  <a:lnTo>
                    <a:pt x="241" y="2"/>
                  </a:lnTo>
                  <a:lnTo>
                    <a:pt x="279" y="11"/>
                  </a:lnTo>
                  <a:lnTo>
                    <a:pt x="309" y="25"/>
                  </a:lnTo>
                  <a:lnTo>
                    <a:pt x="333" y="45"/>
                  </a:lnTo>
                  <a:lnTo>
                    <a:pt x="352" y="71"/>
                  </a:lnTo>
                  <a:lnTo>
                    <a:pt x="364" y="104"/>
                  </a:lnTo>
                  <a:lnTo>
                    <a:pt x="372" y="142"/>
                  </a:lnTo>
                  <a:lnTo>
                    <a:pt x="374" y="189"/>
                  </a:lnTo>
                  <a:lnTo>
                    <a:pt x="374" y="338"/>
                  </a:lnTo>
                  <a:lnTo>
                    <a:pt x="376" y="355"/>
                  </a:lnTo>
                  <a:lnTo>
                    <a:pt x="380" y="369"/>
                  </a:lnTo>
                  <a:lnTo>
                    <a:pt x="388" y="379"/>
                  </a:lnTo>
                  <a:lnTo>
                    <a:pt x="396" y="387"/>
                  </a:lnTo>
                  <a:lnTo>
                    <a:pt x="406" y="395"/>
                  </a:lnTo>
                  <a:lnTo>
                    <a:pt x="412" y="407"/>
                  </a:lnTo>
                  <a:lnTo>
                    <a:pt x="414" y="422"/>
                  </a:lnTo>
                  <a:lnTo>
                    <a:pt x="410" y="440"/>
                  </a:lnTo>
                  <a:lnTo>
                    <a:pt x="402" y="454"/>
                  </a:lnTo>
                  <a:lnTo>
                    <a:pt x="390" y="464"/>
                  </a:lnTo>
                  <a:lnTo>
                    <a:pt x="374" y="468"/>
                  </a:lnTo>
                  <a:lnTo>
                    <a:pt x="352" y="470"/>
                  </a:lnTo>
                  <a:lnTo>
                    <a:pt x="331" y="468"/>
                  </a:lnTo>
                  <a:lnTo>
                    <a:pt x="313" y="460"/>
                  </a:lnTo>
                  <a:lnTo>
                    <a:pt x="299" y="452"/>
                  </a:lnTo>
                  <a:lnTo>
                    <a:pt x="291" y="446"/>
                  </a:lnTo>
                  <a:lnTo>
                    <a:pt x="285" y="440"/>
                  </a:lnTo>
                  <a:lnTo>
                    <a:pt x="281" y="434"/>
                  </a:lnTo>
                  <a:lnTo>
                    <a:pt x="253" y="452"/>
                  </a:lnTo>
                  <a:lnTo>
                    <a:pt x="222" y="462"/>
                  </a:lnTo>
                  <a:lnTo>
                    <a:pt x="190" y="468"/>
                  </a:lnTo>
                  <a:lnTo>
                    <a:pt x="158" y="470"/>
                  </a:lnTo>
                  <a:lnTo>
                    <a:pt x="117" y="468"/>
                  </a:lnTo>
                  <a:lnTo>
                    <a:pt x="81" y="458"/>
                  </a:lnTo>
                  <a:lnTo>
                    <a:pt x="51" y="442"/>
                  </a:lnTo>
                  <a:lnTo>
                    <a:pt x="29" y="422"/>
                  </a:lnTo>
                  <a:lnTo>
                    <a:pt x="11" y="397"/>
                  </a:lnTo>
                  <a:lnTo>
                    <a:pt x="2" y="367"/>
                  </a:lnTo>
                  <a:lnTo>
                    <a:pt x="0" y="332"/>
                  </a:lnTo>
                  <a:lnTo>
                    <a:pt x="0" y="326"/>
                  </a:lnTo>
                  <a:lnTo>
                    <a:pt x="4" y="292"/>
                  </a:lnTo>
                  <a:lnTo>
                    <a:pt x="13" y="262"/>
                  </a:lnTo>
                  <a:lnTo>
                    <a:pt x="33" y="239"/>
                  </a:lnTo>
                  <a:lnTo>
                    <a:pt x="57" y="219"/>
                  </a:lnTo>
                  <a:lnTo>
                    <a:pt x="91" y="203"/>
                  </a:lnTo>
                  <a:lnTo>
                    <a:pt x="128" y="195"/>
                  </a:lnTo>
                  <a:lnTo>
                    <a:pt x="174" y="191"/>
                  </a:lnTo>
                  <a:lnTo>
                    <a:pt x="253" y="191"/>
                  </a:lnTo>
                  <a:lnTo>
                    <a:pt x="253" y="175"/>
                  </a:lnTo>
                  <a:lnTo>
                    <a:pt x="253" y="152"/>
                  </a:lnTo>
                  <a:lnTo>
                    <a:pt x="249" y="132"/>
                  </a:lnTo>
                  <a:lnTo>
                    <a:pt x="241" y="116"/>
                  </a:lnTo>
                  <a:lnTo>
                    <a:pt x="228" y="104"/>
                  </a:lnTo>
                  <a:lnTo>
                    <a:pt x="210" y="96"/>
                  </a:lnTo>
                  <a:lnTo>
                    <a:pt x="186" y="94"/>
                  </a:lnTo>
                  <a:lnTo>
                    <a:pt x="154" y="96"/>
                  </a:lnTo>
                  <a:lnTo>
                    <a:pt x="128" y="104"/>
                  </a:lnTo>
                  <a:lnTo>
                    <a:pt x="107" y="114"/>
                  </a:lnTo>
                  <a:lnTo>
                    <a:pt x="85" y="120"/>
                  </a:lnTo>
                  <a:lnTo>
                    <a:pt x="67" y="118"/>
                  </a:lnTo>
                  <a:lnTo>
                    <a:pt x="51" y="110"/>
                  </a:lnTo>
                  <a:lnTo>
                    <a:pt x="39" y="96"/>
                  </a:lnTo>
                  <a:lnTo>
                    <a:pt x="31" y="81"/>
                  </a:lnTo>
                  <a:lnTo>
                    <a:pt x="31" y="65"/>
                  </a:lnTo>
                  <a:lnTo>
                    <a:pt x="39" y="47"/>
                  </a:lnTo>
                  <a:lnTo>
                    <a:pt x="55" y="33"/>
                  </a:lnTo>
                  <a:lnTo>
                    <a:pt x="87" y="17"/>
                  </a:lnTo>
                  <a:lnTo>
                    <a:pt x="122" y="7"/>
                  </a:lnTo>
                  <a:lnTo>
                    <a:pt x="160" y="2"/>
                  </a:lnTo>
                  <a:lnTo>
                    <a:pt x="196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black">
            <a:xfrm>
              <a:off x="1690688" y="3808413"/>
              <a:ext cx="128588" cy="512763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83" y="6"/>
                </a:cxn>
                <a:cxn ang="0">
                  <a:pos x="103" y="17"/>
                </a:cxn>
                <a:cxn ang="0">
                  <a:pos x="115" y="37"/>
                </a:cxn>
                <a:cxn ang="0">
                  <a:pos x="119" y="59"/>
                </a:cxn>
                <a:cxn ang="0">
                  <a:pos x="119" y="514"/>
                </a:cxn>
                <a:cxn ang="0">
                  <a:pos x="121" y="531"/>
                </a:cxn>
                <a:cxn ang="0">
                  <a:pos x="127" y="545"/>
                </a:cxn>
                <a:cxn ang="0">
                  <a:pos x="137" y="555"/>
                </a:cxn>
                <a:cxn ang="0">
                  <a:pos x="147" y="563"/>
                </a:cxn>
                <a:cxn ang="0">
                  <a:pos x="155" y="571"/>
                </a:cxn>
                <a:cxn ang="0">
                  <a:pos x="161" y="583"/>
                </a:cxn>
                <a:cxn ang="0">
                  <a:pos x="163" y="598"/>
                </a:cxn>
                <a:cxn ang="0">
                  <a:pos x="161" y="616"/>
                </a:cxn>
                <a:cxn ang="0">
                  <a:pos x="153" y="630"/>
                </a:cxn>
                <a:cxn ang="0">
                  <a:pos x="139" y="640"/>
                </a:cxn>
                <a:cxn ang="0">
                  <a:pos x="123" y="644"/>
                </a:cxn>
                <a:cxn ang="0">
                  <a:pos x="103" y="646"/>
                </a:cxn>
                <a:cxn ang="0">
                  <a:pos x="83" y="644"/>
                </a:cxn>
                <a:cxn ang="0">
                  <a:pos x="66" y="638"/>
                </a:cxn>
                <a:cxn ang="0">
                  <a:pos x="48" y="626"/>
                </a:cxn>
                <a:cxn ang="0">
                  <a:pos x="28" y="610"/>
                </a:cxn>
                <a:cxn ang="0">
                  <a:pos x="14" y="587"/>
                </a:cxn>
                <a:cxn ang="0">
                  <a:pos x="4" y="557"/>
                </a:cxn>
                <a:cxn ang="0">
                  <a:pos x="0" y="523"/>
                </a:cxn>
                <a:cxn ang="0">
                  <a:pos x="0" y="59"/>
                </a:cxn>
                <a:cxn ang="0">
                  <a:pos x="4" y="37"/>
                </a:cxn>
                <a:cxn ang="0">
                  <a:pos x="18" y="17"/>
                </a:cxn>
                <a:cxn ang="0">
                  <a:pos x="38" y="6"/>
                </a:cxn>
                <a:cxn ang="0">
                  <a:pos x="60" y="0"/>
                </a:cxn>
              </a:cxnLst>
              <a:rect l="0" t="0" r="r" b="b"/>
              <a:pathLst>
                <a:path w="163" h="646">
                  <a:moveTo>
                    <a:pt x="60" y="0"/>
                  </a:moveTo>
                  <a:lnTo>
                    <a:pt x="83" y="6"/>
                  </a:lnTo>
                  <a:lnTo>
                    <a:pt x="103" y="17"/>
                  </a:lnTo>
                  <a:lnTo>
                    <a:pt x="115" y="37"/>
                  </a:lnTo>
                  <a:lnTo>
                    <a:pt x="119" y="59"/>
                  </a:lnTo>
                  <a:lnTo>
                    <a:pt x="119" y="514"/>
                  </a:lnTo>
                  <a:lnTo>
                    <a:pt x="121" y="531"/>
                  </a:lnTo>
                  <a:lnTo>
                    <a:pt x="127" y="545"/>
                  </a:lnTo>
                  <a:lnTo>
                    <a:pt x="137" y="555"/>
                  </a:lnTo>
                  <a:lnTo>
                    <a:pt x="147" y="563"/>
                  </a:lnTo>
                  <a:lnTo>
                    <a:pt x="155" y="571"/>
                  </a:lnTo>
                  <a:lnTo>
                    <a:pt x="161" y="583"/>
                  </a:lnTo>
                  <a:lnTo>
                    <a:pt x="163" y="598"/>
                  </a:lnTo>
                  <a:lnTo>
                    <a:pt x="161" y="616"/>
                  </a:lnTo>
                  <a:lnTo>
                    <a:pt x="153" y="630"/>
                  </a:lnTo>
                  <a:lnTo>
                    <a:pt x="139" y="640"/>
                  </a:lnTo>
                  <a:lnTo>
                    <a:pt x="123" y="644"/>
                  </a:lnTo>
                  <a:lnTo>
                    <a:pt x="103" y="646"/>
                  </a:lnTo>
                  <a:lnTo>
                    <a:pt x="83" y="644"/>
                  </a:lnTo>
                  <a:lnTo>
                    <a:pt x="66" y="638"/>
                  </a:lnTo>
                  <a:lnTo>
                    <a:pt x="48" y="626"/>
                  </a:lnTo>
                  <a:lnTo>
                    <a:pt x="28" y="610"/>
                  </a:lnTo>
                  <a:lnTo>
                    <a:pt x="14" y="587"/>
                  </a:lnTo>
                  <a:lnTo>
                    <a:pt x="4" y="557"/>
                  </a:lnTo>
                  <a:lnTo>
                    <a:pt x="0" y="523"/>
                  </a:lnTo>
                  <a:lnTo>
                    <a:pt x="0" y="59"/>
                  </a:lnTo>
                  <a:lnTo>
                    <a:pt x="4" y="37"/>
                  </a:lnTo>
                  <a:lnTo>
                    <a:pt x="18" y="17"/>
                  </a:lnTo>
                  <a:lnTo>
                    <a:pt x="38" y="6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black">
            <a:xfrm>
              <a:off x="2062163" y="3798888"/>
              <a:ext cx="458788" cy="525463"/>
            </a:xfrm>
            <a:custGeom>
              <a:avLst/>
              <a:gdLst/>
              <a:ahLst/>
              <a:cxnLst>
                <a:cxn ang="0">
                  <a:pos x="57" y="0"/>
                </a:cxn>
                <a:cxn ang="0">
                  <a:pos x="77" y="2"/>
                </a:cxn>
                <a:cxn ang="0">
                  <a:pos x="95" y="8"/>
                </a:cxn>
                <a:cxn ang="0">
                  <a:pos x="107" y="20"/>
                </a:cxn>
                <a:cxn ang="0">
                  <a:pos x="117" y="35"/>
                </a:cxn>
                <a:cxn ang="0">
                  <a:pos x="289" y="383"/>
                </a:cxn>
                <a:cxn ang="0">
                  <a:pos x="462" y="33"/>
                </a:cxn>
                <a:cxn ang="0">
                  <a:pos x="474" y="16"/>
                </a:cxn>
                <a:cxn ang="0">
                  <a:pos x="488" y="6"/>
                </a:cxn>
                <a:cxn ang="0">
                  <a:pos x="502" y="2"/>
                </a:cxn>
                <a:cxn ang="0">
                  <a:pos x="519" y="0"/>
                </a:cxn>
                <a:cxn ang="0">
                  <a:pos x="541" y="4"/>
                </a:cxn>
                <a:cxn ang="0">
                  <a:pos x="559" y="18"/>
                </a:cxn>
                <a:cxn ang="0">
                  <a:pos x="571" y="35"/>
                </a:cxn>
                <a:cxn ang="0">
                  <a:pos x="577" y="57"/>
                </a:cxn>
                <a:cxn ang="0">
                  <a:pos x="577" y="605"/>
                </a:cxn>
                <a:cxn ang="0">
                  <a:pos x="571" y="626"/>
                </a:cxn>
                <a:cxn ang="0">
                  <a:pos x="559" y="644"/>
                </a:cxn>
                <a:cxn ang="0">
                  <a:pos x="543" y="656"/>
                </a:cxn>
                <a:cxn ang="0">
                  <a:pos x="519" y="662"/>
                </a:cxn>
                <a:cxn ang="0">
                  <a:pos x="498" y="656"/>
                </a:cxn>
                <a:cxn ang="0">
                  <a:pos x="480" y="644"/>
                </a:cxn>
                <a:cxn ang="0">
                  <a:pos x="468" y="626"/>
                </a:cxn>
                <a:cxn ang="0">
                  <a:pos x="464" y="605"/>
                </a:cxn>
                <a:cxn ang="0">
                  <a:pos x="464" y="269"/>
                </a:cxn>
                <a:cxn ang="0">
                  <a:pos x="343" y="520"/>
                </a:cxn>
                <a:cxn ang="0">
                  <a:pos x="329" y="539"/>
                </a:cxn>
                <a:cxn ang="0">
                  <a:pos x="309" y="551"/>
                </a:cxn>
                <a:cxn ang="0">
                  <a:pos x="287" y="555"/>
                </a:cxn>
                <a:cxn ang="0">
                  <a:pos x="266" y="551"/>
                </a:cxn>
                <a:cxn ang="0">
                  <a:pos x="248" y="539"/>
                </a:cxn>
                <a:cxn ang="0">
                  <a:pos x="232" y="520"/>
                </a:cxn>
                <a:cxn ang="0">
                  <a:pos x="111" y="269"/>
                </a:cxn>
                <a:cxn ang="0">
                  <a:pos x="111" y="605"/>
                </a:cxn>
                <a:cxn ang="0">
                  <a:pos x="107" y="626"/>
                </a:cxn>
                <a:cxn ang="0">
                  <a:pos x="95" y="644"/>
                </a:cxn>
                <a:cxn ang="0">
                  <a:pos x="77" y="656"/>
                </a:cxn>
                <a:cxn ang="0">
                  <a:pos x="55" y="662"/>
                </a:cxn>
                <a:cxn ang="0">
                  <a:pos x="34" y="656"/>
                </a:cxn>
                <a:cxn ang="0">
                  <a:pos x="16" y="644"/>
                </a:cxn>
                <a:cxn ang="0">
                  <a:pos x="4" y="626"/>
                </a:cxn>
                <a:cxn ang="0">
                  <a:pos x="0" y="605"/>
                </a:cxn>
                <a:cxn ang="0">
                  <a:pos x="0" y="57"/>
                </a:cxn>
                <a:cxn ang="0">
                  <a:pos x="4" y="33"/>
                </a:cxn>
                <a:cxn ang="0">
                  <a:pos x="18" y="16"/>
                </a:cxn>
                <a:cxn ang="0">
                  <a:pos x="36" y="4"/>
                </a:cxn>
                <a:cxn ang="0">
                  <a:pos x="57" y="0"/>
                </a:cxn>
              </a:cxnLst>
              <a:rect l="0" t="0" r="r" b="b"/>
              <a:pathLst>
                <a:path w="577" h="662">
                  <a:moveTo>
                    <a:pt x="57" y="0"/>
                  </a:moveTo>
                  <a:lnTo>
                    <a:pt x="77" y="2"/>
                  </a:lnTo>
                  <a:lnTo>
                    <a:pt x="95" y="8"/>
                  </a:lnTo>
                  <a:lnTo>
                    <a:pt x="107" y="20"/>
                  </a:lnTo>
                  <a:lnTo>
                    <a:pt x="117" y="35"/>
                  </a:lnTo>
                  <a:lnTo>
                    <a:pt x="289" y="383"/>
                  </a:lnTo>
                  <a:lnTo>
                    <a:pt x="462" y="33"/>
                  </a:lnTo>
                  <a:lnTo>
                    <a:pt x="474" y="16"/>
                  </a:lnTo>
                  <a:lnTo>
                    <a:pt x="488" y="6"/>
                  </a:lnTo>
                  <a:lnTo>
                    <a:pt x="502" y="2"/>
                  </a:lnTo>
                  <a:lnTo>
                    <a:pt x="519" y="0"/>
                  </a:lnTo>
                  <a:lnTo>
                    <a:pt x="541" y="4"/>
                  </a:lnTo>
                  <a:lnTo>
                    <a:pt x="559" y="18"/>
                  </a:lnTo>
                  <a:lnTo>
                    <a:pt x="571" y="35"/>
                  </a:lnTo>
                  <a:lnTo>
                    <a:pt x="577" y="57"/>
                  </a:lnTo>
                  <a:lnTo>
                    <a:pt x="577" y="605"/>
                  </a:lnTo>
                  <a:lnTo>
                    <a:pt x="571" y="626"/>
                  </a:lnTo>
                  <a:lnTo>
                    <a:pt x="559" y="644"/>
                  </a:lnTo>
                  <a:lnTo>
                    <a:pt x="543" y="656"/>
                  </a:lnTo>
                  <a:lnTo>
                    <a:pt x="519" y="662"/>
                  </a:lnTo>
                  <a:lnTo>
                    <a:pt x="498" y="656"/>
                  </a:lnTo>
                  <a:lnTo>
                    <a:pt x="480" y="644"/>
                  </a:lnTo>
                  <a:lnTo>
                    <a:pt x="468" y="626"/>
                  </a:lnTo>
                  <a:lnTo>
                    <a:pt x="464" y="605"/>
                  </a:lnTo>
                  <a:lnTo>
                    <a:pt x="464" y="269"/>
                  </a:lnTo>
                  <a:lnTo>
                    <a:pt x="343" y="520"/>
                  </a:lnTo>
                  <a:lnTo>
                    <a:pt x="329" y="539"/>
                  </a:lnTo>
                  <a:lnTo>
                    <a:pt x="309" y="551"/>
                  </a:lnTo>
                  <a:lnTo>
                    <a:pt x="287" y="555"/>
                  </a:lnTo>
                  <a:lnTo>
                    <a:pt x="266" y="551"/>
                  </a:lnTo>
                  <a:lnTo>
                    <a:pt x="248" y="539"/>
                  </a:lnTo>
                  <a:lnTo>
                    <a:pt x="232" y="520"/>
                  </a:lnTo>
                  <a:lnTo>
                    <a:pt x="111" y="269"/>
                  </a:lnTo>
                  <a:lnTo>
                    <a:pt x="111" y="605"/>
                  </a:lnTo>
                  <a:lnTo>
                    <a:pt x="107" y="626"/>
                  </a:lnTo>
                  <a:lnTo>
                    <a:pt x="95" y="644"/>
                  </a:lnTo>
                  <a:lnTo>
                    <a:pt x="77" y="656"/>
                  </a:lnTo>
                  <a:lnTo>
                    <a:pt x="55" y="662"/>
                  </a:lnTo>
                  <a:lnTo>
                    <a:pt x="34" y="656"/>
                  </a:lnTo>
                  <a:lnTo>
                    <a:pt x="16" y="644"/>
                  </a:lnTo>
                  <a:lnTo>
                    <a:pt x="4" y="626"/>
                  </a:lnTo>
                  <a:lnTo>
                    <a:pt x="0" y="605"/>
                  </a:lnTo>
                  <a:lnTo>
                    <a:pt x="0" y="57"/>
                  </a:lnTo>
                  <a:lnTo>
                    <a:pt x="4" y="33"/>
                  </a:lnTo>
                  <a:lnTo>
                    <a:pt x="18" y="16"/>
                  </a:lnTo>
                  <a:lnTo>
                    <a:pt x="36" y="4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black">
            <a:xfrm>
              <a:off x="2593976" y="3948113"/>
              <a:ext cx="328613" cy="373063"/>
            </a:xfrm>
            <a:custGeom>
              <a:avLst/>
              <a:gdLst/>
              <a:ahLst/>
              <a:cxnLst>
                <a:cxn ang="0">
                  <a:pos x="163" y="280"/>
                </a:cxn>
                <a:cxn ang="0">
                  <a:pos x="129" y="298"/>
                </a:cxn>
                <a:cxn ang="0">
                  <a:pos x="119" y="328"/>
                </a:cxn>
                <a:cxn ang="0">
                  <a:pos x="121" y="351"/>
                </a:cxn>
                <a:cxn ang="0">
                  <a:pos x="141" y="377"/>
                </a:cxn>
                <a:cxn ang="0">
                  <a:pos x="184" y="385"/>
                </a:cxn>
                <a:cxn ang="0">
                  <a:pos x="228" y="375"/>
                </a:cxn>
                <a:cxn ang="0">
                  <a:pos x="252" y="341"/>
                </a:cxn>
                <a:cxn ang="0">
                  <a:pos x="254" y="278"/>
                </a:cxn>
                <a:cxn ang="0">
                  <a:pos x="196" y="0"/>
                </a:cxn>
                <a:cxn ang="0">
                  <a:pos x="280" y="11"/>
                </a:cxn>
                <a:cxn ang="0">
                  <a:pos x="333" y="45"/>
                </a:cxn>
                <a:cxn ang="0">
                  <a:pos x="365" y="104"/>
                </a:cxn>
                <a:cxn ang="0">
                  <a:pos x="375" y="189"/>
                </a:cxn>
                <a:cxn ang="0">
                  <a:pos x="377" y="355"/>
                </a:cxn>
                <a:cxn ang="0">
                  <a:pos x="389" y="379"/>
                </a:cxn>
                <a:cxn ang="0">
                  <a:pos x="406" y="395"/>
                </a:cxn>
                <a:cxn ang="0">
                  <a:pos x="414" y="422"/>
                </a:cxn>
                <a:cxn ang="0">
                  <a:pos x="404" y="454"/>
                </a:cxn>
                <a:cxn ang="0">
                  <a:pos x="375" y="468"/>
                </a:cxn>
                <a:cxn ang="0">
                  <a:pos x="331" y="468"/>
                </a:cxn>
                <a:cxn ang="0">
                  <a:pos x="299" y="452"/>
                </a:cxn>
                <a:cxn ang="0">
                  <a:pos x="282" y="434"/>
                </a:cxn>
                <a:cxn ang="0">
                  <a:pos x="222" y="462"/>
                </a:cxn>
                <a:cxn ang="0">
                  <a:pos x="159" y="470"/>
                </a:cxn>
                <a:cxn ang="0">
                  <a:pos x="81" y="458"/>
                </a:cxn>
                <a:cxn ang="0">
                  <a:pos x="30" y="422"/>
                </a:cxn>
                <a:cxn ang="0">
                  <a:pos x="2" y="367"/>
                </a:cxn>
                <a:cxn ang="0">
                  <a:pos x="0" y="326"/>
                </a:cxn>
                <a:cxn ang="0">
                  <a:pos x="14" y="262"/>
                </a:cxn>
                <a:cxn ang="0">
                  <a:pos x="58" y="219"/>
                </a:cxn>
                <a:cxn ang="0">
                  <a:pos x="131" y="195"/>
                </a:cxn>
                <a:cxn ang="0">
                  <a:pos x="254" y="191"/>
                </a:cxn>
                <a:cxn ang="0">
                  <a:pos x="254" y="152"/>
                </a:cxn>
                <a:cxn ang="0">
                  <a:pos x="242" y="116"/>
                </a:cxn>
                <a:cxn ang="0">
                  <a:pos x="210" y="96"/>
                </a:cxn>
                <a:cxn ang="0">
                  <a:pos x="155" y="96"/>
                </a:cxn>
                <a:cxn ang="0">
                  <a:pos x="107" y="114"/>
                </a:cxn>
                <a:cxn ang="0">
                  <a:pos x="67" y="118"/>
                </a:cxn>
                <a:cxn ang="0">
                  <a:pos x="40" y="96"/>
                </a:cxn>
                <a:cxn ang="0">
                  <a:pos x="32" y="65"/>
                </a:cxn>
                <a:cxn ang="0">
                  <a:pos x="56" y="33"/>
                </a:cxn>
                <a:cxn ang="0">
                  <a:pos x="123" y="7"/>
                </a:cxn>
                <a:cxn ang="0">
                  <a:pos x="196" y="0"/>
                </a:cxn>
              </a:cxnLst>
              <a:rect l="0" t="0" r="r" b="b"/>
              <a:pathLst>
                <a:path w="414" h="470">
                  <a:moveTo>
                    <a:pt x="190" y="278"/>
                  </a:moveTo>
                  <a:lnTo>
                    <a:pt x="163" y="280"/>
                  </a:lnTo>
                  <a:lnTo>
                    <a:pt x="143" y="286"/>
                  </a:lnTo>
                  <a:lnTo>
                    <a:pt x="129" y="298"/>
                  </a:lnTo>
                  <a:lnTo>
                    <a:pt x="121" y="312"/>
                  </a:lnTo>
                  <a:lnTo>
                    <a:pt x="119" y="328"/>
                  </a:lnTo>
                  <a:lnTo>
                    <a:pt x="119" y="334"/>
                  </a:lnTo>
                  <a:lnTo>
                    <a:pt x="121" y="351"/>
                  </a:lnTo>
                  <a:lnTo>
                    <a:pt x="129" y="367"/>
                  </a:lnTo>
                  <a:lnTo>
                    <a:pt x="141" y="377"/>
                  </a:lnTo>
                  <a:lnTo>
                    <a:pt x="161" y="383"/>
                  </a:lnTo>
                  <a:lnTo>
                    <a:pt x="184" y="385"/>
                  </a:lnTo>
                  <a:lnTo>
                    <a:pt x="208" y="383"/>
                  </a:lnTo>
                  <a:lnTo>
                    <a:pt x="228" y="375"/>
                  </a:lnTo>
                  <a:lnTo>
                    <a:pt x="242" y="361"/>
                  </a:lnTo>
                  <a:lnTo>
                    <a:pt x="252" y="341"/>
                  </a:lnTo>
                  <a:lnTo>
                    <a:pt x="254" y="316"/>
                  </a:lnTo>
                  <a:lnTo>
                    <a:pt x="254" y="278"/>
                  </a:lnTo>
                  <a:lnTo>
                    <a:pt x="190" y="278"/>
                  </a:lnTo>
                  <a:close/>
                  <a:moveTo>
                    <a:pt x="196" y="0"/>
                  </a:moveTo>
                  <a:lnTo>
                    <a:pt x="242" y="2"/>
                  </a:lnTo>
                  <a:lnTo>
                    <a:pt x="280" y="11"/>
                  </a:lnTo>
                  <a:lnTo>
                    <a:pt x="309" y="25"/>
                  </a:lnTo>
                  <a:lnTo>
                    <a:pt x="333" y="45"/>
                  </a:lnTo>
                  <a:lnTo>
                    <a:pt x="353" y="71"/>
                  </a:lnTo>
                  <a:lnTo>
                    <a:pt x="365" y="104"/>
                  </a:lnTo>
                  <a:lnTo>
                    <a:pt x="373" y="142"/>
                  </a:lnTo>
                  <a:lnTo>
                    <a:pt x="375" y="189"/>
                  </a:lnTo>
                  <a:lnTo>
                    <a:pt x="375" y="338"/>
                  </a:lnTo>
                  <a:lnTo>
                    <a:pt x="377" y="355"/>
                  </a:lnTo>
                  <a:lnTo>
                    <a:pt x="381" y="369"/>
                  </a:lnTo>
                  <a:lnTo>
                    <a:pt x="389" y="379"/>
                  </a:lnTo>
                  <a:lnTo>
                    <a:pt x="397" y="387"/>
                  </a:lnTo>
                  <a:lnTo>
                    <a:pt x="406" y="395"/>
                  </a:lnTo>
                  <a:lnTo>
                    <a:pt x="412" y="407"/>
                  </a:lnTo>
                  <a:lnTo>
                    <a:pt x="414" y="422"/>
                  </a:lnTo>
                  <a:lnTo>
                    <a:pt x="412" y="440"/>
                  </a:lnTo>
                  <a:lnTo>
                    <a:pt x="404" y="454"/>
                  </a:lnTo>
                  <a:lnTo>
                    <a:pt x="391" y="464"/>
                  </a:lnTo>
                  <a:lnTo>
                    <a:pt x="375" y="468"/>
                  </a:lnTo>
                  <a:lnTo>
                    <a:pt x="353" y="470"/>
                  </a:lnTo>
                  <a:lnTo>
                    <a:pt x="331" y="468"/>
                  </a:lnTo>
                  <a:lnTo>
                    <a:pt x="313" y="460"/>
                  </a:lnTo>
                  <a:lnTo>
                    <a:pt x="299" y="452"/>
                  </a:lnTo>
                  <a:lnTo>
                    <a:pt x="289" y="444"/>
                  </a:lnTo>
                  <a:lnTo>
                    <a:pt x="282" y="434"/>
                  </a:lnTo>
                  <a:lnTo>
                    <a:pt x="254" y="452"/>
                  </a:lnTo>
                  <a:lnTo>
                    <a:pt x="222" y="462"/>
                  </a:lnTo>
                  <a:lnTo>
                    <a:pt x="190" y="468"/>
                  </a:lnTo>
                  <a:lnTo>
                    <a:pt x="159" y="470"/>
                  </a:lnTo>
                  <a:lnTo>
                    <a:pt x="117" y="468"/>
                  </a:lnTo>
                  <a:lnTo>
                    <a:pt x="81" y="458"/>
                  </a:lnTo>
                  <a:lnTo>
                    <a:pt x="52" y="442"/>
                  </a:lnTo>
                  <a:lnTo>
                    <a:pt x="30" y="422"/>
                  </a:lnTo>
                  <a:lnTo>
                    <a:pt x="12" y="397"/>
                  </a:lnTo>
                  <a:lnTo>
                    <a:pt x="2" y="367"/>
                  </a:lnTo>
                  <a:lnTo>
                    <a:pt x="0" y="332"/>
                  </a:lnTo>
                  <a:lnTo>
                    <a:pt x="0" y="326"/>
                  </a:lnTo>
                  <a:lnTo>
                    <a:pt x="4" y="292"/>
                  </a:lnTo>
                  <a:lnTo>
                    <a:pt x="14" y="262"/>
                  </a:lnTo>
                  <a:lnTo>
                    <a:pt x="34" y="239"/>
                  </a:lnTo>
                  <a:lnTo>
                    <a:pt x="58" y="219"/>
                  </a:lnTo>
                  <a:lnTo>
                    <a:pt x="91" y="203"/>
                  </a:lnTo>
                  <a:lnTo>
                    <a:pt x="131" y="195"/>
                  </a:lnTo>
                  <a:lnTo>
                    <a:pt x="174" y="191"/>
                  </a:lnTo>
                  <a:lnTo>
                    <a:pt x="254" y="191"/>
                  </a:lnTo>
                  <a:lnTo>
                    <a:pt x="254" y="175"/>
                  </a:lnTo>
                  <a:lnTo>
                    <a:pt x="254" y="152"/>
                  </a:lnTo>
                  <a:lnTo>
                    <a:pt x="250" y="132"/>
                  </a:lnTo>
                  <a:lnTo>
                    <a:pt x="242" y="116"/>
                  </a:lnTo>
                  <a:lnTo>
                    <a:pt x="228" y="104"/>
                  </a:lnTo>
                  <a:lnTo>
                    <a:pt x="210" y="96"/>
                  </a:lnTo>
                  <a:lnTo>
                    <a:pt x="186" y="94"/>
                  </a:lnTo>
                  <a:lnTo>
                    <a:pt x="155" y="96"/>
                  </a:lnTo>
                  <a:lnTo>
                    <a:pt x="129" y="104"/>
                  </a:lnTo>
                  <a:lnTo>
                    <a:pt x="107" y="114"/>
                  </a:lnTo>
                  <a:lnTo>
                    <a:pt x="85" y="120"/>
                  </a:lnTo>
                  <a:lnTo>
                    <a:pt x="67" y="118"/>
                  </a:lnTo>
                  <a:lnTo>
                    <a:pt x="52" y="110"/>
                  </a:lnTo>
                  <a:lnTo>
                    <a:pt x="40" y="96"/>
                  </a:lnTo>
                  <a:lnTo>
                    <a:pt x="32" y="81"/>
                  </a:lnTo>
                  <a:lnTo>
                    <a:pt x="32" y="65"/>
                  </a:lnTo>
                  <a:lnTo>
                    <a:pt x="40" y="47"/>
                  </a:lnTo>
                  <a:lnTo>
                    <a:pt x="56" y="33"/>
                  </a:lnTo>
                  <a:lnTo>
                    <a:pt x="87" y="17"/>
                  </a:lnTo>
                  <a:lnTo>
                    <a:pt x="123" y="7"/>
                  </a:lnTo>
                  <a:lnTo>
                    <a:pt x="161" y="2"/>
                  </a:lnTo>
                  <a:lnTo>
                    <a:pt x="196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black">
            <a:xfrm>
              <a:off x="2987676" y="3794126"/>
              <a:ext cx="107950" cy="527050"/>
            </a:xfrm>
            <a:custGeom>
              <a:avLst/>
              <a:gdLst/>
              <a:ahLst/>
              <a:cxnLst>
                <a:cxn ang="0">
                  <a:pos x="67" y="194"/>
                </a:cxn>
                <a:cxn ang="0">
                  <a:pos x="91" y="198"/>
                </a:cxn>
                <a:cxn ang="0">
                  <a:pos x="109" y="211"/>
                </a:cxn>
                <a:cxn ang="0">
                  <a:pos x="123" y="231"/>
                </a:cxn>
                <a:cxn ang="0">
                  <a:pos x="126" y="253"/>
                </a:cxn>
                <a:cxn ang="0">
                  <a:pos x="126" y="605"/>
                </a:cxn>
                <a:cxn ang="0">
                  <a:pos x="123" y="628"/>
                </a:cxn>
                <a:cxn ang="0">
                  <a:pos x="109" y="648"/>
                </a:cxn>
                <a:cxn ang="0">
                  <a:pos x="91" y="660"/>
                </a:cxn>
                <a:cxn ang="0">
                  <a:pos x="67" y="664"/>
                </a:cxn>
                <a:cxn ang="0">
                  <a:pos x="43" y="660"/>
                </a:cxn>
                <a:cxn ang="0">
                  <a:pos x="25" y="648"/>
                </a:cxn>
                <a:cxn ang="0">
                  <a:pos x="12" y="628"/>
                </a:cxn>
                <a:cxn ang="0">
                  <a:pos x="8" y="605"/>
                </a:cxn>
                <a:cxn ang="0">
                  <a:pos x="8" y="253"/>
                </a:cxn>
                <a:cxn ang="0">
                  <a:pos x="12" y="231"/>
                </a:cxn>
                <a:cxn ang="0">
                  <a:pos x="25" y="211"/>
                </a:cxn>
                <a:cxn ang="0">
                  <a:pos x="43" y="198"/>
                </a:cxn>
                <a:cxn ang="0">
                  <a:pos x="67" y="194"/>
                </a:cxn>
                <a:cxn ang="0">
                  <a:pos x="67" y="0"/>
                </a:cxn>
                <a:cxn ang="0">
                  <a:pos x="93" y="6"/>
                </a:cxn>
                <a:cxn ang="0">
                  <a:pos x="115" y="20"/>
                </a:cxn>
                <a:cxn ang="0">
                  <a:pos x="128" y="41"/>
                </a:cxn>
                <a:cxn ang="0">
                  <a:pos x="134" y="67"/>
                </a:cxn>
                <a:cxn ang="0">
                  <a:pos x="128" y="93"/>
                </a:cxn>
                <a:cxn ang="0">
                  <a:pos x="115" y="115"/>
                </a:cxn>
                <a:cxn ang="0">
                  <a:pos x="93" y="128"/>
                </a:cxn>
                <a:cxn ang="0">
                  <a:pos x="67" y="134"/>
                </a:cxn>
                <a:cxn ang="0">
                  <a:pos x="41" y="128"/>
                </a:cxn>
                <a:cxn ang="0">
                  <a:pos x="19" y="115"/>
                </a:cxn>
                <a:cxn ang="0">
                  <a:pos x="6" y="93"/>
                </a:cxn>
                <a:cxn ang="0">
                  <a:pos x="0" y="67"/>
                </a:cxn>
                <a:cxn ang="0">
                  <a:pos x="6" y="41"/>
                </a:cxn>
                <a:cxn ang="0">
                  <a:pos x="19" y="20"/>
                </a:cxn>
                <a:cxn ang="0">
                  <a:pos x="41" y="6"/>
                </a:cxn>
                <a:cxn ang="0">
                  <a:pos x="67" y="0"/>
                </a:cxn>
              </a:cxnLst>
              <a:rect l="0" t="0" r="r" b="b"/>
              <a:pathLst>
                <a:path w="134" h="664">
                  <a:moveTo>
                    <a:pt x="67" y="194"/>
                  </a:moveTo>
                  <a:lnTo>
                    <a:pt x="91" y="198"/>
                  </a:lnTo>
                  <a:lnTo>
                    <a:pt x="109" y="211"/>
                  </a:lnTo>
                  <a:lnTo>
                    <a:pt x="123" y="231"/>
                  </a:lnTo>
                  <a:lnTo>
                    <a:pt x="126" y="253"/>
                  </a:lnTo>
                  <a:lnTo>
                    <a:pt x="126" y="605"/>
                  </a:lnTo>
                  <a:lnTo>
                    <a:pt x="123" y="628"/>
                  </a:lnTo>
                  <a:lnTo>
                    <a:pt x="109" y="648"/>
                  </a:lnTo>
                  <a:lnTo>
                    <a:pt x="91" y="660"/>
                  </a:lnTo>
                  <a:lnTo>
                    <a:pt x="67" y="664"/>
                  </a:lnTo>
                  <a:lnTo>
                    <a:pt x="43" y="660"/>
                  </a:lnTo>
                  <a:lnTo>
                    <a:pt x="25" y="648"/>
                  </a:lnTo>
                  <a:lnTo>
                    <a:pt x="12" y="628"/>
                  </a:lnTo>
                  <a:lnTo>
                    <a:pt x="8" y="605"/>
                  </a:lnTo>
                  <a:lnTo>
                    <a:pt x="8" y="253"/>
                  </a:lnTo>
                  <a:lnTo>
                    <a:pt x="12" y="231"/>
                  </a:lnTo>
                  <a:lnTo>
                    <a:pt x="25" y="211"/>
                  </a:lnTo>
                  <a:lnTo>
                    <a:pt x="43" y="198"/>
                  </a:lnTo>
                  <a:lnTo>
                    <a:pt x="67" y="194"/>
                  </a:lnTo>
                  <a:close/>
                  <a:moveTo>
                    <a:pt x="67" y="0"/>
                  </a:moveTo>
                  <a:lnTo>
                    <a:pt x="93" y="6"/>
                  </a:lnTo>
                  <a:lnTo>
                    <a:pt x="115" y="20"/>
                  </a:lnTo>
                  <a:lnTo>
                    <a:pt x="128" y="41"/>
                  </a:lnTo>
                  <a:lnTo>
                    <a:pt x="134" y="67"/>
                  </a:lnTo>
                  <a:lnTo>
                    <a:pt x="128" y="93"/>
                  </a:lnTo>
                  <a:lnTo>
                    <a:pt x="115" y="115"/>
                  </a:lnTo>
                  <a:lnTo>
                    <a:pt x="93" y="128"/>
                  </a:lnTo>
                  <a:lnTo>
                    <a:pt x="67" y="134"/>
                  </a:lnTo>
                  <a:lnTo>
                    <a:pt x="41" y="128"/>
                  </a:lnTo>
                  <a:lnTo>
                    <a:pt x="19" y="115"/>
                  </a:lnTo>
                  <a:lnTo>
                    <a:pt x="6" y="93"/>
                  </a:lnTo>
                  <a:lnTo>
                    <a:pt x="0" y="67"/>
                  </a:lnTo>
                  <a:lnTo>
                    <a:pt x="6" y="41"/>
                  </a:lnTo>
                  <a:lnTo>
                    <a:pt x="19" y="20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black">
            <a:xfrm>
              <a:off x="3190876" y="3808413"/>
              <a:ext cx="128588" cy="512763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84" y="6"/>
                </a:cxn>
                <a:cxn ang="0">
                  <a:pos x="101" y="17"/>
                </a:cxn>
                <a:cxn ang="0">
                  <a:pos x="115" y="37"/>
                </a:cxn>
                <a:cxn ang="0">
                  <a:pos x="119" y="59"/>
                </a:cxn>
                <a:cxn ang="0">
                  <a:pos x="119" y="514"/>
                </a:cxn>
                <a:cxn ang="0">
                  <a:pos x="121" y="531"/>
                </a:cxn>
                <a:cxn ang="0">
                  <a:pos x="127" y="545"/>
                </a:cxn>
                <a:cxn ang="0">
                  <a:pos x="137" y="555"/>
                </a:cxn>
                <a:cxn ang="0">
                  <a:pos x="147" y="563"/>
                </a:cxn>
                <a:cxn ang="0">
                  <a:pos x="155" y="571"/>
                </a:cxn>
                <a:cxn ang="0">
                  <a:pos x="161" y="583"/>
                </a:cxn>
                <a:cxn ang="0">
                  <a:pos x="163" y="598"/>
                </a:cxn>
                <a:cxn ang="0">
                  <a:pos x="161" y="616"/>
                </a:cxn>
                <a:cxn ang="0">
                  <a:pos x="153" y="630"/>
                </a:cxn>
                <a:cxn ang="0">
                  <a:pos x="139" y="640"/>
                </a:cxn>
                <a:cxn ang="0">
                  <a:pos x="123" y="644"/>
                </a:cxn>
                <a:cxn ang="0">
                  <a:pos x="103" y="646"/>
                </a:cxn>
                <a:cxn ang="0">
                  <a:pos x="84" y="644"/>
                </a:cxn>
                <a:cxn ang="0">
                  <a:pos x="66" y="638"/>
                </a:cxn>
                <a:cxn ang="0">
                  <a:pos x="48" y="626"/>
                </a:cxn>
                <a:cxn ang="0">
                  <a:pos x="28" y="610"/>
                </a:cxn>
                <a:cxn ang="0">
                  <a:pos x="14" y="587"/>
                </a:cxn>
                <a:cxn ang="0">
                  <a:pos x="4" y="557"/>
                </a:cxn>
                <a:cxn ang="0">
                  <a:pos x="0" y="523"/>
                </a:cxn>
                <a:cxn ang="0">
                  <a:pos x="0" y="59"/>
                </a:cxn>
                <a:cxn ang="0">
                  <a:pos x="4" y="37"/>
                </a:cxn>
                <a:cxn ang="0">
                  <a:pos x="18" y="17"/>
                </a:cxn>
                <a:cxn ang="0">
                  <a:pos x="36" y="6"/>
                </a:cxn>
                <a:cxn ang="0">
                  <a:pos x="60" y="0"/>
                </a:cxn>
              </a:cxnLst>
              <a:rect l="0" t="0" r="r" b="b"/>
              <a:pathLst>
                <a:path w="163" h="646">
                  <a:moveTo>
                    <a:pt x="60" y="0"/>
                  </a:moveTo>
                  <a:lnTo>
                    <a:pt x="84" y="6"/>
                  </a:lnTo>
                  <a:lnTo>
                    <a:pt x="101" y="17"/>
                  </a:lnTo>
                  <a:lnTo>
                    <a:pt x="115" y="37"/>
                  </a:lnTo>
                  <a:lnTo>
                    <a:pt x="119" y="59"/>
                  </a:lnTo>
                  <a:lnTo>
                    <a:pt x="119" y="514"/>
                  </a:lnTo>
                  <a:lnTo>
                    <a:pt x="121" y="531"/>
                  </a:lnTo>
                  <a:lnTo>
                    <a:pt x="127" y="545"/>
                  </a:lnTo>
                  <a:lnTo>
                    <a:pt x="137" y="555"/>
                  </a:lnTo>
                  <a:lnTo>
                    <a:pt x="147" y="563"/>
                  </a:lnTo>
                  <a:lnTo>
                    <a:pt x="155" y="571"/>
                  </a:lnTo>
                  <a:lnTo>
                    <a:pt x="161" y="583"/>
                  </a:lnTo>
                  <a:lnTo>
                    <a:pt x="163" y="598"/>
                  </a:lnTo>
                  <a:lnTo>
                    <a:pt x="161" y="616"/>
                  </a:lnTo>
                  <a:lnTo>
                    <a:pt x="153" y="630"/>
                  </a:lnTo>
                  <a:lnTo>
                    <a:pt x="139" y="640"/>
                  </a:lnTo>
                  <a:lnTo>
                    <a:pt x="123" y="644"/>
                  </a:lnTo>
                  <a:lnTo>
                    <a:pt x="103" y="646"/>
                  </a:lnTo>
                  <a:lnTo>
                    <a:pt x="84" y="644"/>
                  </a:lnTo>
                  <a:lnTo>
                    <a:pt x="66" y="638"/>
                  </a:lnTo>
                  <a:lnTo>
                    <a:pt x="48" y="626"/>
                  </a:lnTo>
                  <a:lnTo>
                    <a:pt x="28" y="610"/>
                  </a:lnTo>
                  <a:lnTo>
                    <a:pt x="14" y="587"/>
                  </a:lnTo>
                  <a:lnTo>
                    <a:pt x="4" y="557"/>
                  </a:lnTo>
                  <a:lnTo>
                    <a:pt x="0" y="523"/>
                  </a:lnTo>
                  <a:lnTo>
                    <a:pt x="0" y="59"/>
                  </a:lnTo>
                  <a:lnTo>
                    <a:pt x="4" y="37"/>
                  </a:lnTo>
                  <a:lnTo>
                    <a:pt x="18" y="17"/>
                  </a:lnTo>
                  <a:lnTo>
                    <a:pt x="36" y="6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 userDrawn="1"/>
          </p:nvSpPr>
          <p:spPr bwMode="black">
            <a:xfrm>
              <a:off x="3546476" y="3798888"/>
              <a:ext cx="360363" cy="525463"/>
            </a:xfrm>
            <a:custGeom>
              <a:avLst/>
              <a:gdLst/>
              <a:ahLst/>
              <a:cxnLst>
                <a:cxn ang="0">
                  <a:pos x="278" y="2"/>
                </a:cxn>
                <a:cxn ang="0">
                  <a:pos x="351" y="24"/>
                </a:cxn>
                <a:cxn ang="0">
                  <a:pos x="395" y="57"/>
                </a:cxn>
                <a:cxn ang="0">
                  <a:pos x="407" y="89"/>
                </a:cxn>
                <a:cxn ang="0">
                  <a:pos x="397" y="118"/>
                </a:cxn>
                <a:cxn ang="0">
                  <a:pos x="371" y="138"/>
                </a:cxn>
                <a:cxn ang="0">
                  <a:pos x="329" y="138"/>
                </a:cxn>
                <a:cxn ang="0">
                  <a:pos x="290" y="118"/>
                </a:cxn>
                <a:cxn ang="0">
                  <a:pos x="240" y="111"/>
                </a:cxn>
                <a:cxn ang="0">
                  <a:pos x="183" y="122"/>
                </a:cxn>
                <a:cxn ang="0">
                  <a:pos x="143" y="164"/>
                </a:cxn>
                <a:cxn ang="0">
                  <a:pos x="125" y="235"/>
                </a:cxn>
                <a:cxn ang="0">
                  <a:pos x="121" y="379"/>
                </a:cxn>
                <a:cxn ang="0">
                  <a:pos x="131" y="470"/>
                </a:cxn>
                <a:cxn ang="0">
                  <a:pos x="161" y="524"/>
                </a:cxn>
                <a:cxn ang="0">
                  <a:pos x="207" y="549"/>
                </a:cxn>
                <a:cxn ang="0">
                  <a:pos x="266" y="549"/>
                </a:cxn>
                <a:cxn ang="0">
                  <a:pos x="308" y="527"/>
                </a:cxn>
                <a:cxn ang="0">
                  <a:pos x="329" y="492"/>
                </a:cxn>
                <a:cxn ang="0">
                  <a:pos x="335" y="443"/>
                </a:cxn>
                <a:cxn ang="0">
                  <a:pos x="276" y="415"/>
                </a:cxn>
                <a:cxn ang="0">
                  <a:pos x="236" y="397"/>
                </a:cxn>
                <a:cxn ang="0">
                  <a:pos x="220" y="358"/>
                </a:cxn>
                <a:cxn ang="0">
                  <a:pos x="236" y="318"/>
                </a:cxn>
                <a:cxn ang="0">
                  <a:pos x="276" y="300"/>
                </a:cxn>
                <a:cxn ang="0">
                  <a:pos x="419" y="306"/>
                </a:cxn>
                <a:cxn ang="0">
                  <a:pos x="448" y="338"/>
                </a:cxn>
                <a:cxn ang="0">
                  <a:pos x="454" y="439"/>
                </a:cxn>
                <a:cxn ang="0">
                  <a:pos x="444" y="514"/>
                </a:cxn>
                <a:cxn ang="0">
                  <a:pos x="415" y="579"/>
                </a:cxn>
                <a:cxn ang="0">
                  <a:pos x="363" y="628"/>
                </a:cxn>
                <a:cxn ang="0">
                  <a:pos x="286" y="658"/>
                </a:cxn>
                <a:cxn ang="0">
                  <a:pos x="187" y="658"/>
                </a:cxn>
                <a:cxn ang="0">
                  <a:pos x="109" y="632"/>
                </a:cxn>
                <a:cxn ang="0">
                  <a:pos x="54" y="583"/>
                </a:cxn>
                <a:cxn ang="0">
                  <a:pos x="20" y="514"/>
                </a:cxn>
                <a:cxn ang="0">
                  <a:pos x="2" y="429"/>
                </a:cxn>
                <a:cxn ang="0">
                  <a:pos x="0" y="280"/>
                </a:cxn>
                <a:cxn ang="0">
                  <a:pos x="8" y="190"/>
                </a:cxn>
                <a:cxn ang="0">
                  <a:pos x="34" y="112"/>
                </a:cxn>
                <a:cxn ang="0">
                  <a:pos x="80" y="53"/>
                </a:cxn>
                <a:cxn ang="0">
                  <a:pos x="147" y="14"/>
                </a:cxn>
                <a:cxn ang="0">
                  <a:pos x="240" y="0"/>
                </a:cxn>
              </a:cxnLst>
              <a:rect l="0" t="0" r="r" b="b"/>
              <a:pathLst>
                <a:path w="454" h="662">
                  <a:moveTo>
                    <a:pt x="240" y="0"/>
                  </a:moveTo>
                  <a:lnTo>
                    <a:pt x="278" y="2"/>
                  </a:lnTo>
                  <a:lnTo>
                    <a:pt x="316" y="10"/>
                  </a:lnTo>
                  <a:lnTo>
                    <a:pt x="351" y="24"/>
                  </a:lnTo>
                  <a:lnTo>
                    <a:pt x="379" y="43"/>
                  </a:lnTo>
                  <a:lnTo>
                    <a:pt x="395" y="57"/>
                  </a:lnTo>
                  <a:lnTo>
                    <a:pt x="403" y="73"/>
                  </a:lnTo>
                  <a:lnTo>
                    <a:pt x="407" y="89"/>
                  </a:lnTo>
                  <a:lnTo>
                    <a:pt x="405" y="105"/>
                  </a:lnTo>
                  <a:lnTo>
                    <a:pt x="397" y="118"/>
                  </a:lnTo>
                  <a:lnTo>
                    <a:pt x="387" y="130"/>
                  </a:lnTo>
                  <a:lnTo>
                    <a:pt x="371" y="138"/>
                  </a:lnTo>
                  <a:lnTo>
                    <a:pt x="351" y="142"/>
                  </a:lnTo>
                  <a:lnTo>
                    <a:pt x="329" y="138"/>
                  </a:lnTo>
                  <a:lnTo>
                    <a:pt x="310" y="128"/>
                  </a:lnTo>
                  <a:lnTo>
                    <a:pt x="290" y="118"/>
                  </a:lnTo>
                  <a:lnTo>
                    <a:pt x="266" y="112"/>
                  </a:lnTo>
                  <a:lnTo>
                    <a:pt x="240" y="111"/>
                  </a:lnTo>
                  <a:lnTo>
                    <a:pt x="209" y="112"/>
                  </a:lnTo>
                  <a:lnTo>
                    <a:pt x="183" y="122"/>
                  </a:lnTo>
                  <a:lnTo>
                    <a:pt x="161" y="140"/>
                  </a:lnTo>
                  <a:lnTo>
                    <a:pt x="143" y="164"/>
                  </a:lnTo>
                  <a:lnTo>
                    <a:pt x="131" y="195"/>
                  </a:lnTo>
                  <a:lnTo>
                    <a:pt x="125" y="235"/>
                  </a:lnTo>
                  <a:lnTo>
                    <a:pt x="121" y="284"/>
                  </a:lnTo>
                  <a:lnTo>
                    <a:pt x="121" y="379"/>
                  </a:lnTo>
                  <a:lnTo>
                    <a:pt x="125" y="429"/>
                  </a:lnTo>
                  <a:lnTo>
                    <a:pt x="131" y="470"/>
                  </a:lnTo>
                  <a:lnTo>
                    <a:pt x="143" y="502"/>
                  </a:lnTo>
                  <a:lnTo>
                    <a:pt x="161" y="524"/>
                  </a:lnTo>
                  <a:lnTo>
                    <a:pt x="181" y="539"/>
                  </a:lnTo>
                  <a:lnTo>
                    <a:pt x="207" y="549"/>
                  </a:lnTo>
                  <a:lnTo>
                    <a:pt x="234" y="551"/>
                  </a:lnTo>
                  <a:lnTo>
                    <a:pt x="266" y="549"/>
                  </a:lnTo>
                  <a:lnTo>
                    <a:pt x="290" y="541"/>
                  </a:lnTo>
                  <a:lnTo>
                    <a:pt x="308" y="527"/>
                  </a:lnTo>
                  <a:lnTo>
                    <a:pt x="322" y="512"/>
                  </a:lnTo>
                  <a:lnTo>
                    <a:pt x="329" y="492"/>
                  </a:lnTo>
                  <a:lnTo>
                    <a:pt x="333" y="468"/>
                  </a:lnTo>
                  <a:lnTo>
                    <a:pt x="335" y="443"/>
                  </a:lnTo>
                  <a:lnTo>
                    <a:pt x="335" y="415"/>
                  </a:lnTo>
                  <a:lnTo>
                    <a:pt x="276" y="415"/>
                  </a:lnTo>
                  <a:lnTo>
                    <a:pt x="254" y="409"/>
                  </a:lnTo>
                  <a:lnTo>
                    <a:pt x="236" y="397"/>
                  </a:lnTo>
                  <a:lnTo>
                    <a:pt x="224" y="379"/>
                  </a:lnTo>
                  <a:lnTo>
                    <a:pt x="220" y="358"/>
                  </a:lnTo>
                  <a:lnTo>
                    <a:pt x="224" y="336"/>
                  </a:lnTo>
                  <a:lnTo>
                    <a:pt x="236" y="318"/>
                  </a:lnTo>
                  <a:lnTo>
                    <a:pt x="254" y="306"/>
                  </a:lnTo>
                  <a:lnTo>
                    <a:pt x="276" y="300"/>
                  </a:lnTo>
                  <a:lnTo>
                    <a:pt x="395" y="300"/>
                  </a:lnTo>
                  <a:lnTo>
                    <a:pt x="419" y="306"/>
                  </a:lnTo>
                  <a:lnTo>
                    <a:pt x="437" y="318"/>
                  </a:lnTo>
                  <a:lnTo>
                    <a:pt x="448" y="338"/>
                  </a:lnTo>
                  <a:lnTo>
                    <a:pt x="454" y="361"/>
                  </a:lnTo>
                  <a:lnTo>
                    <a:pt x="454" y="439"/>
                  </a:lnTo>
                  <a:lnTo>
                    <a:pt x="450" y="476"/>
                  </a:lnTo>
                  <a:lnTo>
                    <a:pt x="444" y="514"/>
                  </a:lnTo>
                  <a:lnTo>
                    <a:pt x="433" y="547"/>
                  </a:lnTo>
                  <a:lnTo>
                    <a:pt x="415" y="579"/>
                  </a:lnTo>
                  <a:lnTo>
                    <a:pt x="393" y="607"/>
                  </a:lnTo>
                  <a:lnTo>
                    <a:pt x="363" y="628"/>
                  </a:lnTo>
                  <a:lnTo>
                    <a:pt x="327" y="646"/>
                  </a:lnTo>
                  <a:lnTo>
                    <a:pt x="286" y="658"/>
                  </a:lnTo>
                  <a:lnTo>
                    <a:pt x="234" y="662"/>
                  </a:lnTo>
                  <a:lnTo>
                    <a:pt x="187" y="658"/>
                  </a:lnTo>
                  <a:lnTo>
                    <a:pt x="145" y="648"/>
                  </a:lnTo>
                  <a:lnTo>
                    <a:pt x="109" y="632"/>
                  </a:lnTo>
                  <a:lnTo>
                    <a:pt x="80" y="610"/>
                  </a:lnTo>
                  <a:lnTo>
                    <a:pt x="54" y="583"/>
                  </a:lnTo>
                  <a:lnTo>
                    <a:pt x="34" y="551"/>
                  </a:lnTo>
                  <a:lnTo>
                    <a:pt x="20" y="514"/>
                  </a:lnTo>
                  <a:lnTo>
                    <a:pt x="8" y="474"/>
                  </a:lnTo>
                  <a:lnTo>
                    <a:pt x="2" y="429"/>
                  </a:lnTo>
                  <a:lnTo>
                    <a:pt x="0" y="381"/>
                  </a:lnTo>
                  <a:lnTo>
                    <a:pt x="0" y="280"/>
                  </a:lnTo>
                  <a:lnTo>
                    <a:pt x="2" y="233"/>
                  </a:lnTo>
                  <a:lnTo>
                    <a:pt x="8" y="190"/>
                  </a:lnTo>
                  <a:lnTo>
                    <a:pt x="20" y="150"/>
                  </a:lnTo>
                  <a:lnTo>
                    <a:pt x="34" y="112"/>
                  </a:lnTo>
                  <a:lnTo>
                    <a:pt x="54" y="81"/>
                  </a:lnTo>
                  <a:lnTo>
                    <a:pt x="80" y="53"/>
                  </a:lnTo>
                  <a:lnTo>
                    <a:pt x="111" y="29"/>
                  </a:lnTo>
                  <a:lnTo>
                    <a:pt x="147" y="14"/>
                  </a:lnTo>
                  <a:lnTo>
                    <a:pt x="191" y="4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black">
            <a:xfrm>
              <a:off x="3968751" y="3948113"/>
              <a:ext cx="273050" cy="373063"/>
            </a:xfrm>
            <a:custGeom>
              <a:avLst/>
              <a:gdLst/>
              <a:ahLst/>
              <a:cxnLst>
                <a:cxn ang="0">
                  <a:pos x="265" y="0"/>
                </a:cxn>
                <a:cxn ang="0">
                  <a:pos x="287" y="2"/>
                </a:cxn>
                <a:cxn ang="0">
                  <a:pos x="305" y="7"/>
                </a:cxn>
                <a:cxn ang="0">
                  <a:pos x="321" y="13"/>
                </a:cxn>
                <a:cxn ang="0">
                  <a:pos x="335" y="27"/>
                </a:cxn>
                <a:cxn ang="0">
                  <a:pos x="343" y="41"/>
                </a:cxn>
                <a:cxn ang="0">
                  <a:pos x="345" y="59"/>
                </a:cxn>
                <a:cxn ang="0">
                  <a:pos x="341" y="77"/>
                </a:cxn>
                <a:cxn ang="0">
                  <a:pos x="333" y="96"/>
                </a:cxn>
                <a:cxn ang="0">
                  <a:pos x="319" y="110"/>
                </a:cxn>
                <a:cxn ang="0">
                  <a:pos x="299" y="118"/>
                </a:cxn>
                <a:cxn ang="0">
                  <a:pos x="275" y="118"/>
                </a:cxn>
                <a:cxn ang="0">
                  <a:pos x="267" y="116"/>
                </a:cxn>
                <a:cxn ang="0">
                  <a:pos x="255" y="114"/>
                </a:cxn>
                <a:cxn ang="0">
                  <a:pos x="238" y="114"/>
                </a:cxn>
                <a:cxn ang="0">
                  <a:pos x="218" y="116"/>
                </a:cxn>
                <a:cxn ang="0">
                  <a:pos x="198" y="122"/>
                </a:cxn>
                <a:cxn ang="0">
                  <a:pos x="182" y="132"/>
                </a:cxn>
                <a:cxn ang="0">
                  <a:pos x="170" y="146"/>
                </a:cxn>
                <a:cxn ang="0">
                  <a:pos x="162" y="166"/>
                </a:cxn>
                <a:cxn ang="0">
                  <a:pos x="162" y="411"/>
                </a:cxn>
                <a:cxn ang="0">
                  <a:pos x="156" y="434"/>
                </a:cxn>
                <a:cxn ang="0">
                  <a:pos x="144" y="454"/>
                </a:cxn>
                <a:cxn ang="0">
                  <a:pos x="125" y="466"/>
                </a:cxn>
                <a:cxn ang="0">
                  <a:pos x="103" y="470"/>
                </a:cxn>
                <a:cxn ang="0">
                  <a:pos x="79" y="466"/>
                </a:cxn>
                <a:cxn ang="0">
                  <a:pos x="59" y="454"/>
                </a:cxn>
                <a:cxn ang="0">
                  <a:pos x="45" y="434"/>
                </a:cxn>
                <a:cxn ang="0">
                  <a:pos x="41" y="411"/>
                </a:cxn>
                <a:cxn ang="0">
                  <a:pos x="41" y="140"/>
                </a:cxn>
                <a:cxn ang="0">
                  <a:pos x="39" y="120"/>
                </a:cxn>
                <a:cxn ang="0">
                  <a:pos x="33" y="108"/>
                </a:cxn>
                <a:cxn ang="0">
                  <a:pos x="25" y="98"/>
                </a:cxn>
                <a:cxn ang="0">
                  <a:pos x="16" y="89"/>
                </a:cxn>
                <a:cxn ang="0">
                  <a:pos x="8" y="81"/>
                </a:cxn>
                <a:cxn ang="0">
                  <a:pos x="2" y="69"/>
                </a:cxn>
                <a:cxn ang="0">
                  <a:pos x="0" y="55"/>
                </a:cxn>
                <a:cxn ang="0">
                  <a:pos x="2" y="37"/>
                </a:cxn>
                <a:cxn ang="0">
                  <a:pos x="10" y="23"/>
                </a:cxn>
                <a:cxn ang="0">
                  <a:pos x="21" y="13"/>
                </a:cxn>
                <a:cxn ang="0">
                  <a:pos x="37" y="7"/>
                </a:cxn>
                <a:cxn ang="0">
                  <a:pos x="59" y="6"/>
                </a:cxn>
                <a:cxn ang="0">
                  <a:pos x="65" y="6"/>
                </a:cxn>
                <a:cxn ang="0">
                  <a:pos x="71" y="6"/>
                </a:cxn>
                <a:cxn ang="0">
                  <a:pos x="77" y="7"/>
                </a:cxn>
                <a:cxn ang="0">
                  <a:pos x="105" y="19"/>
                </a:cxn>
                <a:cxn ang="0">
                  <a:pos x="127" y="35"/>
                </a:cxn>
                <a:cxn ang="0">
                  <a:pos x="142" y="57"/>
                </a:cxn>
                <a:cxn ang="0">
                  <a:pos x="168" y="31"/>
                </a:cxn>
                <a:cxn ang="0">
                  <a:pos x="194" y="15"/>
                </a:cxn>
                <a:cxn ang="0">
                  <a:pos x="222" y="6"/>
                </a:cxn>
                <a:cxn ang="0">
                  <a:pos x="245" y="2"/>
                </a:cxn>
                <a:cxn ang="0">
                  <a:pos x="265" y="0"/>
                </a:cxn>
              </a:cxnLst>
              <a:rect l="0" t="0" r="r" b="b"/>
              <a:pathLst>
                <a:path w="345" h="470">
                  <a:moveTo>
                    <a:pt x="265" y="0"/>
                  </a:moveTo>
                  <a:lnTo>
                    <a:pt x="287" y="2"/>
                  </a:lnTo>
                  <a:lnTo>
                    <a:pt x="305" y="7"/>
                  </a:lnTo>
                  <a:lnTo>
                    <a:pt x="321" y="13"/>
                  </a:lnTo>
                  <a:lnTo>
                    <a:pt x="335" y="27"/>
                  </a:lnTo>
                  <a:lnTo>
                    <a:pt x="343" y="41"/>
                  </a:lnTo>
                  <a:lnTo>
                    <a:pt x="345" y="59"/>
                  </a:lnTo>
                  <a:lnTo>
                    <a:pt x="341" y="77"/>
                  </a:lnTo>
                  <a:lnTo>
                    <a:pt x="333" y="96"/>
                  </a:lnTo>
                  <a:lnTo>
                    <a:pt x="319" y="110"/>
                  </a:lnTo>
                  <a:lnTo>
                    <a:pt x="299" y="118"/>
                  </a:lnTo>
                  <a:lnTo>
                    <a:pt x="275" y="118"/>
                  </a:lnTo>
                  <a:lnTo>
                    <a:pt x="267" y="116"/>
                  </a:lnTo>
                  <a:lnTo>
                    <a:pt x="255" y="114"/>
                  </a:lnTo>
                  <a:lnTo>
                    <a:pt x="238" y="114"/>
                  </a:lnTo>
                  <a:lnTo>
                    <a:pt x="218" y="116"/>
                  </a:lnTo>
                  <a:lnTo>
                    <a:pt x="198" y="122"/>
                  </a:lnTo>
                  <a:lnTo>
                    <a:pt x="182" y="132"/>
                  </a:lnTo>
                  <a:lnTo>
                    <a:pt x="170" y="146"/>
                  </a:lnTo>
                  <a:lnTo>
                    <a:pt x="162" y="166"/>
                  </a:lnTo>
                  <a:lnTo>
                    <a:pt x="162" y="411"/>
                  </a:lnTo>
                  <a:lnTo>
                    <a:pt x="156" y="434"/>
                  </a:lnTo>
                  <a:lnTo>
                    <a:pt x="144" y="454"/>
                  </a:lnTo>
                  <a:lnTo>
                    <a:pt x="125" y="466"/>
                  </a:lnTo>
                  <a:lnTo>
                    <a:pt x="103" y="470"/>
                  </a:lnTo>
                  <a:lnTo>
                    <a:pt x="79" y="466"/>
                  </a:lnTo>
                  <a:lnTo>
                    <a:pt x="59" y="454"/>
                  </a:lnTo>
                  <a:lnTo>
                    <a:pt x="45" y="434"/>
                  </a:lnTo>
                  <a:lnTo>
                    <a:pt x="41" y="411"/>
                  </a:lnTo>
                  <a:lnTo>
                    <a:pt x="41" y="140"/>
                  </a:lnTo>
                  <a:lnTo>
                    <a:pt x="39" y="120"/>
                  </a:lnTo>
                  <a:lnTo>
                    <a:pt x="33" y="108"/>
                  </a:lnTo>
                  <a:lnTo>
                    <a:pt x="25" y="98"/>
                  </a:lnTo>
                  <a:lnTo>
                    <a:pt x="16" y="89"/>
                  </a:lnTo>
                  <a:lnTo>
                    <a:pt x="8" y="81"/>
                  </a:lnTo>
                  <a:lnTo>
                    <a:pt x="2" y="69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3"/>
                  </a:lnTo>
                  <a:lnTo>
                    <a:pt x="21" y="13"/>
                  </a:lnTo>
                  <a:lnTo>
                    <a:pt x="37" y="7"/>
                  </a:lnTo>
                  <a:lnTo>
                    <a:pt x="59" y="6"/>
                  </a:lnTo>
                  <a:lnTo>
                    <a:pt x="65" y="6"/>
                  </a:lnTo>
                  <a:lnTo>
                    <a:pt x="71" y="6"/>
                  </a:lnTo>
                  <a:lnTo>
                    <a:pt x="77" y="7"/>
                  </a:lnTo>
                  <a:lnTo>
                    <a:pt x="105" y="19"/>
                  </a:lnTo>
                  <a:lnTo>
                    <a:pt x="127" y="35"/>
                  </a:lnTo>
                  <a:lnTo>
                    <a:pt x="142" y="57"/>
                  </a:lnTo>
                  <a:lnTo>
                    <a:pt x="168" y="31"/>
                  </a:lnTo>
                  <a:lnTo>
                    <a:pt x="194" y="15"/>
                  </a:lnTo>
                  <a:lnTo>
                    <a:pt x="222" y="6"/>
                  </a:lnTo>
                  <a:lnTo>
                    <a:pt x="245" y="2"/>
                  </a:lnTo>
                  <a:lnTo>
                    <a:pt x="265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black">
            <a:xfrm>
              <a:off x="4268788" y="3948113"/>
              <a:ext cx="301625" cy="373063"/>
            </a:xfrm>
            <a:custGeom>
              <a:avLst/>
              <a:gdLst/>
              <a:ahLst/>
              <a:cxnLst>
                <a:cxn ang="0">
                  <a:pos x="191" y="108"/>
                </a:cxn>
                <a:cxn ang="0">
                  <a:pos x="165" y="110"/>
                </a:cxn>
                <a:cxn ang="0">
                  <a:pos x="145" y="122"/>
                </a:cxn>
                <a:cxn ang="0">
                  <a:pos x="131" y="138"/>
                </a:cxn>
                <a:cxn ang="0">
                  <a:pos x="123" y="160"/>
                </a:cxn>
                <a:cxn ang="0">
                  <a:pos x="119" y="189"/>
                </a:cxn>
                <a:cxn ang="0">
                  <a:pos x="119" y="282"/>
                </a:cxn>
                <a:cxn ang="0">
                  <a:pos x="123" y="310"/>
                </a:cxn>
                <a:cxn ang="0">
                  <a:pos x="131" y="334"/>
                </a:cxn>
                <a:cxn ang="0">
                  <a:pos x="145" y="349"/>
                </a:cxn>
                <a:cxn ang="0">
                  <a:pos x="165" y="359"/>
                </a:cxn>
                <a:cxn ang="0">
                  <a:pos x="191" y="363"/>
                </a:cxn>
                <a:cxn ang="0">
                  <a:pos x="216" y="359"/>
                </a:cxn>
                <a:cxn ang="0">
                  <a:pos x="236" y="349"/>
                </a:cxn>
                <a:cxn ang="0">
                  <a:pos x="250" y="334"/>
                </a:cxn>
                <a:cxn ang="0">
                  <a:pos x="258" y="310"/>
                </a:cxn>
                <a:cxn ang="0">
                  <a:pos x="262" y="282"/>
                </a:cxn>
                <a:cxn ang="0">
                  <a:pos x="262" y="189"/>
                </a:cxn>
                <a:cxn ang="0">
                  <a:pos x="258" y="160"/>
                </a:cxn>
                <a:cxn ang="0">
                  <a:pos x="250" y="138"/>
                </a:cxn>
                <a:cxn ang="0">
                  <a:pos x="236" y="122"/>
                </a:cxn>
                <a:cxn ang="0">
                  <a:pos x="216" y="110"/>
                </a:cxn>
                <a:cxn ang="0">
                  <a:pos x="191" y="108"/>
                </a:cxn>
                <a:cxn ang="0">
                  <a:pos x="191" y="0"/>
                </a:cxn>
                <a:cxn ang="0">
                  <a:pos x="236" y="4"/>
                </a:cxn>
                <a:cxn ang="0">
                  <a:pos x="276" y="15"/>
                </a:cxn>
                <a:cxn ang="0">
                  <a:pos x="310" y="31"/>
                </a:cxn>
                <a:cxn ang="0">
                  <a:pos x="335" y="55"/>
                </a:cxn>
                <a:cxn ang="0">
                  <a:pos x="355" y="83"/>
                </a:cxn>
                <a:cxn ang="0">
                  <a:pos x="371" y="116"/>
                </a:cxn>
                <a:cxn ang="0">
                  <a:pos x="379" y="150"/>
                </a:cxn>
                <a:cxn ang="0">
                  <a:pos x="381" y="187"/>
                </a:cxn>
                <a:cxn ang="0">
                  <a:pos x="381" y="282"/>
                </a:cxn>
                <a:cxn ang="0">
                  <a:pos x="379" y="320"/>
                </a:cxn>
                <a:cxn ang="0">
                  <a:pos x="371" y="355"/>
                </a:cxn>
                <a:cxn ang="0">
                  <a:pos x="355" y="387"/>
                </a:cxn>
                <a:cxn ang="0">
                  <a:pos x="335" y="415"/>
                </a:cxn>
                <a:cxn ang="0">
                  <a:pos x="310" y="438"/>
                </a:cxn>
                <a:cxn ang="0">
                  <a:pos x="276" y="456"/>
                </a:cxn>
                <a:cxn ang="0">
                  <a:pos x="236" y="466"/>
                </a:cxn>
                <a:cxn ang="0">
                  <a:pos x="191" y="470"/>
                </a:cxn>
                <a:cxn ang="0">
                  <a:pos x="145" y="466"/>
                </a:cxn>
                <a:cxn ang="0">
                  <a:pos x="105" y="456"/>
                </a:cxn>
                <a:cxn ang="0">
                  <a:pos x="72" y="438"/>
                </a:cxn>
                <a:cxn ang="0">
                  <a:pos x="46" y="415"/>
                </a:cxn>
                <a:cxn ang="0">
                  <a:pos x="26" y="387"/>
                </a:cxn>
                <a:cxn ang="0">
                  <a:pos x="10" y="355"/>
                </a:cxn>
                <a:cxn ang="0">
                  <a:pos x="2" y="320"/>
                </a:cxn>
                <a:cxn ang="0">
                  <a:pos x="0" y="282"/>
                </a:cxn>
                <a:cxn ang="0">
                  <a:pos x="0" y="187"/>
                </a:cxn>
                <a:cxn ang="0">
                  <a:pos x="2" y="150"/>
                </a:cxn>
                <a:cxn ang="0">
                  <a:pos x="10" y="116"/>
                </a:cxn>
                <a:cxn ang="0">
                  <a:pos x="26" y="83"/>
                </a:cxn>
                <a:cxn ang="0">
                  <a:pos x="46" y="55"/>
                </a:cxn>
                <a:cxn ang="0">
                  <a:pos x="72" y="31"/>
                </a:cxn>
                <a:cxn ang="0">
                  <a:pos x="105" y="15"/>
                </a:cxn>
                <a:cxn ang="0">
                  <a:pos x="145" y="4"/>
                </a:cxn>
                <a:cxn ang="0">
                  <a:pos x="191" y="0"/>
                </a:cxn>
              </a:cxnLst>
              <a:rect l="0" t="0" r="r" b="b"/>
              <a:pathLst>
                <a:path w="381" h="470">
                  <a:moveTo>
                    <a:pt x="191" y="108"/>
                  </a:moveTo>
                  <a:lnTo>
                    <a:pt x="165" y="110"/>
                  </a:lnTo>
                  <a:lnTo>
                    <a:pt x="145" y="122"/>
                  </a:lnTo>
                  <a:lnTo>
                    <a:pt x="131" y="138"/>
                  </a:lnTo>
                  <a:lnTo>
                    <a:pt x="123" y="160"/>
                  </a:lnTo>
                  <a:lnTo>
                    <a:pt x="119" y="189"/>
                  </a:lnTo>
                  <a:lnTo>
                    <a:pt x="119" y="282"/>
                  </a:lnTo>
                  <a:lnTo>
                    <a:pt x="123" y="310"/>
                  </a:lnTo>
                  <a:lnTo>
                    <a:pt x="131" y="334"/>
                  </a:lnTo>
                  <a:lnTo>
                    <a:pt x="145" y="349"/>
                  </a:lnTo>
                  <a:lnTo>
                    <a:pt x="165" y="359"/>
                  </a:lnTo>
                  <a:lnTo>
                    <a:pt x="191" y="363"/>
                  </a:lnTo>
                  <a:lnTo>
                    <a:pt x="216" y="359"/>
                  </a:lnTo>
                  <a:lnTo>
                    <a:pt x="236" y="349"/>
                  </a:lnTo>
                  <a:lnTo>
                    <a:pt x="250" y="334"/>
                  </a:lnTo>
                  <a:lnTo>
                    <a:pt x="258" y="310"/>
                  </a:lnTo>
                  <a:lnTo>
                    <a:pt x="262" y="282"/>
                  </a:lnTo>
                  <a:lnTo>
                    <a:pt x="262" y="189"/>
                  </a:lnTo>
                  <a:lnTo>
                    <a:pt x="258" y="160"/>
                  </a:lnTo>
                  <a:lnTo>
                    <a:pt x="250" y="138"/>
                  </a:lnTo>
                  <a:lnTo>
                    <a:pt x="236" y="122"/>
                  </a:lnTo>
                  <a:lnTo>
                    <a:pt x="216" y="110"/>
                  </a:lnTo>
                  <a:lnTo>
                    <a:pt x="191" y="108"/>
                  </a:lnTo>
                  <a:close/>
                  <a:moveTo>
                    <a:pt x="191" y="0"/>
                  </a:moveTo>
                  <a:lnTo>
                    <a:pt x="236" y="4"/>
                  </a:lnTo>
                  <a:lnTo>
                    <a:pt x="276" y="15"/>
                  </a:lnTo>
                  <a:lnTo>
                    <a:pt x="310" y="31"/>
                  </a:lnTo>
                  <a:lnTo>
                    <a:pt x="335" y="55"/>
                  </a:lnTo>
                  <a:lnTo>
                    <a:pt x="355" y="83"/>
                  </a:lnTo>
                  <a:lnTo>
                    <a:pt x="371" y="116"/>
                  </a:lnTo>
                  <a:lnTo>
                    <a:pt x="379" y="150"/>
                  </a:lnTo>
                  <a:lnTo>
                    <a:pt x="381" y="187"/>
                  </a:lnTo>
                  <a:lnTo>
                    <a:pt x="381" y="282"/>
                  </a:lnTo>
                  <a:lnTo>
                    <a:pt x="379" y="320"/>
                  </a:lnTo>
                  <a:lnTo>
                    <a:pt x="371" y="355"/>
                  </a:lnTo>
                  <a:lnTo>
                    <a:pt x="355" y="387"/>
                  </a:lnTo>
                  <a:lnTo>
                    <a:pt x="335" y="415"/>
                  </a:lnTo>
                  <a:lnTo>
                    <a:pt x="310" y="438"/>
                  </a:lnTo>
                  <a:lnTo>
                    <a:pt x="276" y="456"/>
                  </a:lnTo>
                  <a:lnTo>
                    <a:pt x="236" y="466"/>
                  </a:lnTo>
                  <a:lnTo>
                    <a:pt x="191" y="470"/>
                  </a:lnTo>
                  <a:lnTo>
                    <a:pt x="145" y="466"/>
                  </a:lnTo>
                  <a:lnTo>
                    <a:pt x="105" y="456"/>
                  </a:lnTo>
                  <a:lnTo>
                    <a:pt x="72" y="438"/>
                  </a:lnTo>
                  <a:lnTo>
                    <a:pt x="46" y="415"/>
                  </a:lnTo>
                  <a:lnTo>
                    <a:pt x="26" y="387"/>
                  </a:lnTo>
                  <a:lnTo>
                    <a:pt x="10" y="355"/>
                  </a:lnTo>
                  <a:lnTo>
                    <a:pt x="2" y="320"/>
                  </a:lnTo>
                  <a:lnTo>
                    <a:pt x="0" y="282"/>
                  </a:lnTo>
                  <a:lnTo>
                    <a:pt x="0" y="187"/>
                  </a:lnTo>
                  <a:lnTo>
                    <a:pt x="2" y="150"/>
                  </a:lnTo>
                  <a:lnTo>
                    <a:pt x="10" y="116"/>
                  </a:lnTo>
                  <a:lnTo>
                    <a:pt x="26" y="83"/>
                  </a:lnTo>
                  <a:lnTo>
                    <a:pt x="46" y="55"/>
                  </a:lnTo>
                  <a:lnTo>
                    <a:pt x="72" y="31"/>
                  </a:lnTo>
                  <a:lnTo>
                    <a:pt x="105" y="15"/>
                  </a:lnTo>
                  <a:lnTo>
                    <a:pt x="145" y="4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black">
            <a:xfrm>
              <a:off x="4656138" y="3948113"/>
              <a:ext cx="331788" cy="373063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83" y="4"/>
                </a:cxn>
                <a:cxn ang="0">
                  <a:pos x="101" y="17"/>
                </a:cxn>
                <a:cxn ang="0">
                  <a:pos x="115" y="37"/>
                </a:cxn>
                <a:cxn ang="0">
                  <a:pos x="119" y="59"/>
                </a:cxn>
                <a:cxn ang="0">
                  <a:pos x="119" y="290"/>
                </a:cxn>
                <a:cxn ang="0">
                  <a:pos x="121" y="310"/>
                </a:cxn>
                <a:cxn ang="0">
                  <a:pos x="125" y="326"/>
                </a:cxn>
                <a:cxn ang="0">
                  <a:pos x="131" y="339"/>
                </a:cxn>
                <a:cxn ang="0">
                  <a:pos x="143" y="349"/>
                </a:cxn>
                <a:cxn ang="0">
                  <a:pos x="161" y="355"/>
                </a:cxn>
                <a:cxn ang="0">
                  <a:pos x="182" y="357"/>
                </a:cxn>
                <a:cxn ang="0">
                  <a:pos x="212" y="353"/>
                </a:cxn>
                <a:cxn ang="0">
                  <a:pos x="238" y="341"/>
                </a:cxn>
                <a:cxn ang="0">
                  <a:pos x="256" y="322"/>
                </a:cxn>
                <a:cxn ang="0">
                  <a:pos x="256" y="59"/>
                </a:cxn>
                <a:cxn ang="0">
                  <a:pos x="260" y="37"/>
                </a:cxn>
                <a:cxn ang="0">
                  <a:pos x="274" y="17"/>
                </a:cxn>
                <a:cxn ang="0">
                  <a:pos x="293" y="4"/>
                </a:cxn>
                <a:cxn ang="0">
                  <a:pos x="315" y="0"/>
                </a:cxn>
                <a:cxn ang="0">
                  <a:pos x="339" y="4"/>
                </a:cxn>
                <a:cxn ang="0">
                  <a:pos x="359" y="17"/>
                </a:cxn>
                <a:cxn ang="0">
                  <a:pos x="371" y="37"/>
                </a:cxn>
                <a:cxn ang="0">
                  <a:pos x="375" y="59"/>
                </a:cxn>
                <a:cxn ang="0">
                  <a:pos x="375" y="338"/>
                </a:cxn>
                <a:cxn ang="0">
                  <a:pos x="379" y="355"/>
                </a:cxn>
                <a:cxn ang="0">
                  <a:pos x="385" y="369"/>
                </a:cxn>
                <a:cxn ang="0">
                  <a:pos x="393" y="379"/>
                </a:cxn>
                <a:cxn ang="0">
                  <a:pos x="402" y="387"/>
                </a:cxn>
                <a:cxn ang="0">
                  <a:pos x="410" y="395"/>
                </a:cxn>
                <a:cxn ang="0">
                  <a:pos x="416" y="407"/>
                </a:cxn>
                <a:cxn ang="0">
                  <a:pos x="418" y="422"/>
                </a:cxn>
                <a:cxn ang="0">
                  <a:pos x="416" y="440"/>
                </a:cxn>
                <a:cxn ang="0">
                  <a:pos x="408" y="454"/>
                </a:cxn>
                <a:cxn ang="0">
                  <a:pos x="394" y="464"/>
                </a:cxn>
                <a:cxn ang="0">
                  <a:pos x="379" y="468"/>
                </a:cxn>
                <a:cxn ang="0">
                  <a:pos x="359" y="470"/>
                </a:cxn>
                <a:cxn ang="0">
                  <a:pos x="339" y="468"/>
                </a:cxn>
                <a:cxn ang="0">
                  <a:pos x="321" y="462"/>
                </a:cxn>
                <a:cxn ang="0">
                  <a:pos x="303" y="450"/>
                </a:cxn>
                <a:cxn ang="0">
                  <a:pos x="293" y="444"/>
                </a:cxn>
                <a:cxn ang="0">
                  <a:pos x="287" y="436"/>
                </a:cxn>
                <a:cxn ang="0">
                  <a:pos x="280" y="424"/>
                </a:cxn>
                <a:cxn ang="0">
                  <a:pos x="254" y="444"/>
                </a:cxn>
                <a:cxn ang="0">
                  <a:pos x="224" y="458"/>
                </a:cxn>
                <a:cxn ang="0">
                  <a:pos x="188" y="468"/>
                </a:cxn>
                <a:cxn ang="0">
                  <a:pos x="149" y="470"/>
                </a:cxn>
                <a:cxn ang="0">
                  <a:pos x="113" y="468"/>
                </a:cxn>
                <a:cxn ang="0">
                  <a:pos x="81" y="458"/>
                </a:cxn>
                <a:cxn ang="0">
                  <a:pos x="55" y="444"/>
                </a:cxn>
                <a:cxn ang="0">
                  <a:pos x="34" y="424"/>
                </a:cxn>
                <a:cxn ang="0">
                  <a:pos x="20" y="401"/>
                </a:cxn>
                <a:cxn ang="0">
                  <a:pos x="8" y="373"/>
                </a:cxn>
                <a:cxn ang="0">
                  <a:pos x="2" y="339"/>
                </a:cxn>
                <a:cxn ang="0">
                  <a:pos x="0" y="306"/>
                </a:cxn>
                <a:cxn ang="0">
                  <a:pos x="0" y="59"/>
                </a:cxn>
                <a:cxn ang="0">
                  <a:pos x="4" y="37"/>
                </a:cxn>
                <a:cxn ang="0">
                  <a:pos x="18" y="17"/>
                </a:cxn>
                <a:cxn ang="0">
                  <a:pos x="36" y="4"/>
                </a:cxn>
                <a:cxn ang="0">
                  <a:pos x="59" y="0"/>
                </a:cxn>
              </a:cxnLst>
              <a:rect l="0" t="0" r="r" b="b"/>
              <a:pathLst>
                <a:path w="418" h="470">
                  <a:moveTo>
                    <a:pt x="59" y="0"/>
                  </a:moveTo>
                  <a:lnTo>
                    <a:pt x="83" y="4"/>
                  </a:lnTo>
                  <a:lnTo>
                    <a:pt x="101" y="17"/>
                  </a:lnTo>
                  <a:lnTo>
                    <a:pt x="115" y="37"/>
                  </a:lnTo>
                  <a:lnTo>
                    <a:pt x="119" y="59"/>
                  </a:lnTo>
                  <a:lnTo>
                    <a:pt x="119" y="290"/>
                  </a:lnTo>
                  <a:lnTo>
                    <a:pt x="121" y="310"/>
                  </a:lnTo>
                  <a:lnTo>
                    <a:pt x="125" y="326"/>
                  </a:lnTo>
                  <a:lnTo>
                    <a:pt x="131" y="339"/>
                  </a:lnTo>
                  <a:lnTo>
                    <a:pt x="143" y="349"/>
                  </a:lnTo>
                  <a:lnTo>
                    <a:pt x="161" y="355"/>
                  </a:lnTo>
                  <a:lnTo>
                    <a:pt x="182" y="357"/>
                  </a:lnTo>
                  <a:lnTo>
                    <a:pt x="212" y="353"/>
                  </a:lnTo>
                  <a:lnTo>
                    <a:pt x="238" y="341"/>
                  </a:lnTo>
                  <a:lnTo>
                    <a:pt x="256" y="322"/>
                  </a:lnTo>
                  <a:lnTo>
                    <a:pt x="256" y="59"/>
                  </a:lnTo>
                  <a:lnTo>
                    <a:pt x="260" y="37"/>
                  </a:lnTo>
                  <a:lnTo>
                    <a:pt x="274" y="17"/>
                  </a:lnTo>
                  <a:lnTo>
                    <a:pt x="293" y="4"/>
                  </a:lnTo>
                  <a:lnTo>
                    <a:pt x="315" y="0"/>
                  </a:lnTo>
                  <a:lnTo>
                    <a:pt x="339" y="4"/>
                  </a:lnTo>
                  <a:lnTo>
                    <a:pt x="359" y="17"/>
                  </a:lnTo>
                  <a:lnTo>
                    <a:pt x="371" y="37"/>
                  </a:lnTo>
                  <a:lnTo>
                    <a:pt x="375" y="59"/>
                  </a:lnTo>
                  <a:lnTo>
                    <a:pt x="375" y="338"/>
                  </a:lnTo>
                  <a:lnTo>
                    <a:pt x="379" y="355"/>
                  </a:lnTo>
                  <a:lnTo>
                    <a:pt x="385" y="369"/>
                  </a:lnTo>
                  <a:lnTo>
                    <a:pt x="393" y="379"/>
                  </a:lnTo>
                  <a:lnTo>
                    <a:pt x="402" y="387"/>
                  </a:lnTo>
                  <a:lnTo>
                    <a:pt x="410" y="395"/>
                  </a:lnTo>
                  <a:lnTo>
                    <a:pt x="416" y="407"/>
                  </a:lnTo>
                  <a:lnTo>
                    <a:pt x="418" y="422"/>
                  </a:lnTo>
                  <a:lnTo>
                    <a:pt x="416" y="440"/>
                  </a:lnTo>
                  <a:lnTo>
                    <a:pt x="408" y="454"/>
                  </a:lnTo>
                  <a:lnTo>
                    <a:pt x="394" y="464"/>
                  </a:lnTo>
                  <a:lnTo>
                    <a:pt x="379" y="468"/>
                  </a:lnTo>
                  <a:lnTo>
                    <a:pt x="359" y="470"/>
                  </a:lnTo>
                  <a:lnTo>
                    <a:pt x="339" y="468"/>
                  </a:lnTo>
                  <a:lnTo>
                    <a:pt x="321" y="462"/>
                  </a:lnTo>
                  <a:lnTo>
                    <a:pt x="303" y="450"/>
                  </a:lnTo>
                  <a:lnTo>
                    <a:pt x="293" y="444"/>
                  </a:lnTo>
                  <a:lnTo>
                    <a:pt x="287" y="436"/>
                  </a:lnTo>
                  <a:lnTo>
                    <a:pt x="280" y="424"/>
                  </a:lnTo>
                  <a:lnTo>
                    <a:pt x="254" y="444"/>
                  </a:lnTo>
                  <a:lnTo>
                    <a:pt x="224" y="458"/>
                  </a:lnTo>
                  <a:lnTo>
                    <a:pt x="188" y="468"/>
                  </a:lnTo>
                  <a:lnTo>
                    <a:pt x="149" y="470"/>
                  </a:lnTo>
                  <a:lnTo>
                    <a:pt x="113" y="468"/>
                  </a:lnTo>
                  <a:lnTo>
                    <a:pt x="81" y="458"/>
                  </a:lnTo>
                  <a:lnTo>
                    <a:pt x="55" y="444"/>
                  </a:lnTo>
                  <a:lnTo>
                    <a:pt x="34" y="424"/>
                  </a:lnTo>
                  <a:lnTo>
                    <a:pt x="20" y="401"/>
                  </a:lnTo>
                  <a:lnTo>
                    <a:pt x="8" y="373"/>
                  </a:lnTo>
                  <a:lnTo>
                    <a:pt x="2" y="339"/>
                  </a:lnTo>
                  <a:lnTo>
                    <a:pt x="0" y="306"/>
                  </a:lnTo>
                  <a:lnTo>
                    <a:pt x="0" y="59"/>
                  </a:lnTo>
                  <a:lnTo>
                    <a:pt x="4" y="37"/>
                  </a:lnTo>
                  <a:lnTo>
                    <a:pt x="18" y="17"/>
                  </a:lnTo>
                  <a:lnTo>
                    <a:pt x="36" y="4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black">
            <a:xfrm>
              <a:off x="5037138" y="3948113"/>
              <a:ext cx="328613" cy="498475"/>
            </a:xfrm>
            <a:custGeom>
              <a:avLst/>
              <a:gdLst/>
              <a:ahLst/>
              <a:cxnLst>
                <a:cxn ang="0">
                  <a:pos x="202" y="104"/>
                </a:cxn>
                <a:cxn ang="0">
                  <a:pos x="158" y="126"/>
                </a:cxn>
                <a:cxn ang="0">
                  <a:pos x="180" y="357"/>
                </a:cxn>
                <a:cxn ang="0">
                  <a:pos x="224" y="371"/>
                </a:cxn>
                <a:cxn ang="0">
                  <a:pos x="271" y="355"/>
                </a:cxn>
                <a:cxn ang="0">
                  <a:pos x="293" y="314"/>
                </a:cxn>
                <a:cxn ang="0">
                  <a:pos x="295" y="179"/>
                </a:cxn>
                <a:cxn ang="0">
                  <a:pos x="285" y="130"/>
                </a:cxn>
                <a:cxn ang="0">
                  <a:pos x="251" y="104"/>
                </a:cxn>
                <a:cxn ang="0">
                  <a:pos x="59" y="0"/>
                </a:cxn>
                <a:cxn ang="0">
                  <a:pos x="97" y="7"/>
                </a:cxn>
                <a:cxn ang="0">
                  <a:pos x="125" y="27"/>
                </a:cxn>
                <a:cxn ang="0">
                  <a:pos x="164" y="17"/>
                </a:cxn>
                <a:cxn ang="0">
                  <a:pos x="244" y="0"/>
                </a:cxn>
                <a:cxn ang="0">
                  <a:pos x="319" y="11"/>
                </a:cxn>
                <a:cxn ang="0">
                  <a:pos x="372" y="49"/>
                </a:cxn>
                <a:cxn ang="0">
                  <a:pos x="404" y="108"/>
                </a:cxn>
                <a:cxn ang="0">
                  <a:pos x="414" y="189"/>
                </a:cxn>
                <a:cxn ang="0">
                  <a:pos x="412" y="308"/>
                </a:cxn>
                <a:cxn ang="0">
                  <a:pos x="394" y="385"/>
                </a:cxn>
                <a:cxn ang="0">
                  <a:pos x="357" y="438"/>
                </a:cxn>
                <a:cxn ang="0">
                  <a:pos x="293" y="466"/>
                </a:cxn>
                <a:cxn ang="0">
                  <a:pos x="218" y="468"/>
                </a:cxn>
                <a:cxn ang="0">
                  <a:pos x="158" y="444"/>
                </a:cxn>
                <a:cxn ang="0">
                  <a:pos x="154" y="590"/>
                </a:cxn>
                <a:cxn ang="0">
                  <a:pos x="123" y="622"/>
                </a:cxn>
                <a:cxn ang="0">
                  <a:pos x="75" y="622"/>
                </a:cxn>
                <a:cxn ang="0">
                  <a:pos x="43" y="590"/>
                </a:cxn>
                <a:cxn ang="0">
                  <a:pos x="39" y="134"/>
                </a:cxn>
                <a:cxn ang="0">
                  <a:pos x="31" y="102"/>
                </a:cxn>
                <a:cxn ang="0">
                  <a:pos x="16" y="85"/>
                </a:cxn>
                <a:cxn ang="0">
                  <a:pos x="2" y="63"/>
                </a:cxn>
                <a:cxn ang="0">
                  <a:pos x="2" y="31"/>
                </a:cxn>
                <a:cxn ang="0">
                  <a:pos x="24" y="7"/>
                </a:cxn>
                <a:cxn ang="0">
                  <a:pos x="59" y="0"/>
                </a:cxn>
              </a:cxnLst>
              <a:rect l="0" t="0" r="r" b="b"/>
              <a:pathLst>
                <a:path w="414" h="628">
                  <a:moveTo>
                    <a:pt x="224" y="100"/>
                  </a:moveTo>
                  <a:lnTo>
                    <a:pt x="202" y="104"/>
                  </a:lnTo>
                  <a:lnTo>
                    <a:pt x="180" y="112"/>
                  </a:lnTo>
                  <a:lnTo>
                    <a:pt x="158" y="126"/>
                  </a:lnTo>
                  <a:lnTo>
                    <a:pt x="158" y="343"/>
                  </a:lnTo>
                  <a:lnTo>
                    <a:pt x="180" y="357"/>
                  </a:lnTo>
                  <a:lnTo>
                    <a:pt x="202" y="367"/>
                  </a:lnTo>
                  <a:lnTo>
                    <a:pt x="224" y="371"/>
                  </a:lnTo>
                  <a:lnTo>
                    <a:pt x="251" y="367"/>
                  </a:lnTo>
                  <a:lnTo>
                    <a:pt x="271" y="355"/>
                  </a:lnTo>
                  <a:lnTo>
                    <a:pt x="285" y="338"/>
                  </a:lnTo>
                  <a:lnTo>
                    <a:pt x="293" y="314"/>
                  </a:lnTo>
                  <a:lnTo>
                    <a:pt x="295" y="284"/>
                  </a:lnTo>
                  <a:lnTo>
                    <a:pt x="295" y="179"/>
                  </a:lnTo>
                  <a:lnTo>
                    <a:pt x="293" y="152"/>
                  </a:lnTo>
                  <a:lnTo>
                    <a:pt x="285" y="130"/>
                  </a:lnTo>
                  <a:lnTo>
                    <a:pt x="271" y="114"/>
                  </a:lnTo>
                  <a:lnTo>
                    <a:pt x="251" y="104"/>
                  </a:lnTo>
                  <a:lnTo>
                    <a:pt x="224" y="100"/>
                  </a:lnTo>
                  <a:close/>
                  <a:moveTo>
                    <a:pt x="59" y="0"/>
                  </a:moveTo>
                  <a:lnTo>
                    <a:pt x="79" y="2"/>
                  </a:lnTo>
                  <a:lnTo>
                    <a:pt x="97" y="7"/>
                  </a:lnTo>
                  <a:lnTo>
                    <a:pt x="115" y="19"/>
                  </a:lnTo>
                  <a:lnTo>
                    <a:pt x="125" y="27"/>
                  </a:lnTo>
                  <a:lnTo>
                    <a:pt x="133" y="35"/>
                  </a:lnTo>
                  <a:lnTo>
                    <a:pt x="164" y="17"/>
                  </a:lnTo>
                  <a:lnTo>
                    <a:pt x="204" y="4"/>
                  </a:lnTo>
                  <a:lnTo>
                    <a:pt x="244" y="0"/>
                  </a:lnTo>
                  <a:lnTo>
                    <a:pt x="285" y="4"/>
                  </a:lnTo>
                  <a:lnTo>
                    <a:pt x="319" y="11"/>
                  </a:lnTo>
                  <a:lnTo>
                    <a:pt x="349" y="27"/>
                  </a:lnTo>
                  <a:lnTo>
                    <a:pt x="372" y="49"/>
                  </a:lnTo>
                  <a:lnTo>
                    <a:pt x="390" y="75"/>
                  </a:lnTo>
                  <a:lnTo>
                    <a:pt x="404" y="108"/>
                  </a:lnTo>
                  <a:lnTo>
                    <a:pt x="412" y="146"/>
                  </a:lnTo>
                  <a:lnTo>
                    <a:pt x="414" y="189"/>
                  </a:lnTo>
                  <a:lnTo>
                    <a:pt x="414" y="260"/>
                  </a:lnTo>
                  <a:lnTo>
                    <a:pt x="412" y="308"/>
                  </a:lnTo>
                  <a:lnTo>
                    <a:pt x="406" y="349"/>
                  </a:lnTo>
                  <a:lnTo>
                    <a:pt x="394" y="385"/>
                  </a:lnTo>
                  <a:lnTo>
                    <a:pt x="378" y="415"/>
                  </a:lnTo>
                  <a:lnTo>
                    <a:pt x="357" y="438"/>
                  </a:lnTo>
                  <a:lnTo>
                    <a:pt x="329" y="456"/>
                  </a:lnTo>
                  <a:lnTo>
                    <a:pt x="293" y="466"/>
                  </a:lnTo>
                  <a:lnTo>
                    <a:pt x="251" y="470"/>
                  </a:lnTo>
                  <a:lnTo>
                    <a:pt x="218" y="468"/>
                  </a:lnTo>
                  <a:lnTo>
                    <a:pt x="186" y="458"/>
                  </a:lnTo>
                  <a:lnTo>
                    <a:pt x="158" y="444"/>
                  </a:lnTo>
                  <a:lnTo>
                    <a:pt x="158" y="569"/>
                  </a:lnTo>
                  <a:lnTo>
                    <a:pt x="154" y="590"/>
                  </a:lnTo>
                  <a:lnTo>
                    <a:pt x="140" y="610"/>
                  </a:lnTo>
                  <a:lnTo>
                    <a:pt x="123" y="622"/>
                  </a:lnTo>
                  <a:lnTo>
                    <a:pt x="99" y="628"/>
                  </a:lnTo>
                  <a:lnTo>
                    <a:pt x="75" y="622"/>
                  </a:lnTo>
                  <a:lnTo>
                    <a:pt x="57" y="610"/>
                  </a:lnTo>
                  <a:lnTo>
                    <a:pt x="43" y="590"/>
                  </a:lnTo>
                  <a:lnTo>
                    <a:pt x="39" y="569"/>
                  </a:lnTo>
                  <a:lnTo>
                    <a:pt x="39" y="134"/>
                  </a:lnTo>
                  <a:lnTo>
                    <a:pt x="37" y="116"/>
                  </a:lnTo>
                  <a:lnTo>
                    <a:pt x="31" y="102"/>
                  </a:lnTo>
                  <a:lnTo>
                    <a:pt x="25" y="92"/>
                  </a:lnTo>
                  <a:lnTo>
                    <a:pt x="16" y="85"/>
                  </a:lnTo>
                  <a:lnTo>
                    <a:pt x="8" y="75"/>
                  </a:lnTo>
                  <a:lnTo>
                    <a:pt x="2" y="63"/>
                  </a:lnTo>
                  <a:lnTo>
                    <a:pt x="0" y="49"/>
                  </a:lnTo>
                  <a:lnTo>
                    <a:pt x="2" y="31"/>
                  </a:lnTo>
                  <a:lnTo>
                    <a:pt x="10" y="17"/>
                  </a:lnTo>
                  <a:lnTo>
                    <a:pt x="24" y="7"/>
                  </a:lnTo>
                  <a:lnTo>
                    <a:pt x="39" y="2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extBox 1" descr="CONFIDENTIAL_TAG_0xFFEE"/>
          <p:cNvSpPr txBox="1"/>
          <p:nvPr userDrawn="1"/>
        </p:nvSpPr>
        <p:spPr>
          <a:xfrm>
            <a:off x="359090" y="6396539"/>
            <a:ext cx="3455661" cy="276950"/>
          </a:xfrm>
          <a:prstGeom prst="rect">
            <a:avLst/>
          </a:prstGeom>
          <a:noFill/>
        </p:spPr>
        <p:txBody>
          <a:bodyPr vert="horz" lIns="91390" tIns="45696" rIns="91390" bIns="45696" rtlCol="0">
            <a:spAutoFit/>
          </a:bodyPr>
          <a:lstStyle/>
          <a:p>
            <a:pPr defTabSz="913905"/>
            <a:endParaRPr lang="en-GB" sz="1200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8149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2306" y="1441593"/>
            <a:ext cx="4384910" cy="426071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5148043" y="1441593"/>
            <a:ext cx="4307393" cy="426071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13111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311" y="1444625"/>
            <a:ext cx="4419865" cy="7302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52" indent="0">
              <a:buNone/>
              <a:defRPr sz="2000" b="1"/>
            </a:lvl2pPr>
            <a:lvl3pPr marL="913905" indent="0">
              <a:buNone/>
              <a:defRPr sz="1800" b="1"/>
            </a:lvl3pPr>
            <a:lvl4pPr marL="1370859" indent="0">
              <a:buNone/>
              <a:defRPr sz="1600" b="1"/>
            </a:lvl4pPr>
            <a:lvl5pPr marL="1827810" indent="0">
              <a:buNone/>
              <a:defRPr sz="1600" b="1"/>
            </a:lvl5pPr>
            <a:lvl6pPr marL="2284764" indent="0">
              <a:buNone/>
              <a:defRPr sz="1600" b="1"/>
            </a:lvl6pPr>
            <a:lvl7pPr marL="2741717" indent="0">
              <a:buNone/>
              <a:defRPr sz="1600" b="1"/>
            </a:lvl7pPr>
            <a:lvl8pPr marL="3198669" indent="0">
              <a:buNone/>
              <a:defRPr sz="1600" b="1"/>
            </a:lvl8pPr>
            <a:lvl9pPr marL="3655621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58842" y="1444625"/>
            <a:ext cx="4306068" cy="7302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52" indent="0">
              <a:buNone/>
              <a:defRPr sz="2000" b="1"/>
            </a:lvl2pPr>
            <a:lvl3pPr marL="913905" indent="0">
              <a:buNone/>
              <a:defRPr sz="1800" b="1"/>
            </a:lvl3pPr>
            <a:lvl4pPr marL="1370859" indent="0">
              <a:buNone/>
              <a:defRPr sz="1600" b="1"/>
            </a:lvl4pPr>
            <a:lvl5pPr marL="1827810" indent="0">
              <a:buNone/>
              <a:defRPr sz="1600" b="1"/>
            </a:lvl5pPr>
            <a:lvl6pPr marL="2284764" indent="0">
              <a:buNone/>
              <a:defRPr sz="1600" b="1"/>
            </a:lvl6pPr>
            <a:lvl7pPr marL="2741717" indent="0">
              <a:buNone/>
              <a:defRPr sz="1600" b="1"/>
            </a:lvl7pPr>
            <a:lvl8pPr marL="3198669" indent="0">
              <a:buNone/>
              <a:defRPr sz="1600" b="1"/>
            </a:lvl8pPr>
            <a:lvl9pPr marL="3655621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464809" y="2268189"/>
            <a:ext cx="4372408" cy="343411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5148043" y="2268189"/>
            <a:ext cx="4307393" cy="343411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71977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4340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88955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2310" y="282586"/>
            <a:ext cx="9003109" cy="984365"/>
          </a:xfrm>
        </p:spPr>
        <p:txBody>
          <a:bodyPr/>
          <a:lstStyle>
            <a:lvl1pPr algn="l">
              <a:defRPr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2309" y="1444637"/>
            <a:ext cx="7114445" cy="152717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456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grpSp>
        <p:nvGrpSpPr>
          <p:cNvPr id="4" name="Group 7"/>
          <p:cNvGrpSpPr/>
          <p:nvPr userDrawn="1"/>
        </p:nvGrpSpPr>
        <p:grpSpPr bwMode="black">
          <a:xfrm>
            <a:off x="2962426" y="5329615"/>
            <a:ext cx="3974895" cy="461588"/>
            <a:chOff x="179388" y="3794126"/>
            <a:chExt cx="5186363" cy="652462"/>
          </a:xfrm>
        </p:grpSpPr>
        <p:sp>
          <p:nvSpPr>
            <p:cNvPr id="9" name="Freeform 7"/>
            <p:cNvSpPr>
              <a:spLocks noEditPoints="1"/>
            </p:cNvSpPr>
            <p:nvPr userDrawn="1"/>
          </p:nvSpPr>
          <p:spPr bwMode="black">
            <a:xfrm>
              <a:off x="179388" y="3805238"/>
              <a:ext cx="350838" cy="519113"/>
            </a:xfrm>
            <a:custGeom>
              <a:avLst/>
              <a:gdLst/>
              <a:ahLst/>
              <a:cxnLst>
                <a:cxn ang="0">
                  <a:pos x="121" y="114"/>
                </a:cxn>
                <a:cxn ang="0">
                  <a:pos x="121" y="282"/>
                </a:cxn>
                <a:cxn ang="0">
                  <a:pos x="222" y="282"/>
                </a:cxn>
                <a:cxn ang="0">
                  <a:pos x="252" y="280"/>
                </a:cxn>
                <a:cxn ang="0">
                  <a:pos x="276" y="272"/>
                </a:cxn>
                <a:cxn ang="0">
                  <a:pos x="295" y="259"/>
                </a:cxn>
                <a:cxn ang="0">
                  <a:pos x="307" y="239"/>
                </a:cxn>
                <a:cxn ang="0">
                  <a:pos x="311" y="215"/>
                </a:cxn>
                <a:cxn ang="0">
                  <a:pos x="311" y="180"/>
                </a:cxn>
                <a:cxn ang="0">
                  <a:pos x="307" y="158"/>
                </a:cxn>
                <a:cxn ang="0">
                  <a:pos x="297" y="138"/>
                </a:cxn>
                <a:cxn ang="0">
                  <a:pos x="280" y="124"/>
                </a:cxn>
                <a:cxn ang="0">
                  <a:pos x="256" y="116"/>
                </a:cxn>
                <a:cxn ang="0">
                  <a:pos x="226" y="114"/>
                </a:cxn>
                <a:cxn ang="0">
                  <a:pos x="121" y="114"/>
                </a:cxn>
                <a:cxn ang="0">
                  <a:pos x="59" y="0"/>
                </a:cxn>
                <a:cxn ang="0">
                  <a:pos x="228" y="0"/>
                </a:cxn>
                <a:cxn ang="0">
                  <a:pos x="276" y="4"/>
                </a:cxn>
                <a:cxn ang="0">
                  <a:pos x="317" y="12"/>
                </a:cxn>
                <a:cxn ang="0">
                  <a:pos x="353" y="27"/>
                </a:cxn>
                <a:cxn ang="0">
                  <a:pos x="383" y="47"/>
                </a:cxn>
                <a:cxn ang="0">
                  <a:pos x="404" y="73"/>
                </a:cxn>
                <a:cxn ang="0">
                  <a:pos x="422" y="104"/>
                </a:cxn>
                <a:cxn ang="0">
                  <a:pos x="430" y="140"/>
                </a:cxn>
                <a:cxn ang="0">
                  <a:pos x="434" y="180"/>
                </a:cxn>
                <a:cxn ang="0">
                  <a:pos x="434" y="215"/>
                </a:cxn>
                <a:cxn ang="0">
                  <a:pos x="430" y="257"/>
                </a:cxn>
                <a:cxn ang="0">
                  <a:pos x="416" y="294"/>
                </a:cxn>
                <a:cxn ang="0">
                  <a:pos x="396" y="326"/>
                </a:cxn>
                <a:cxn ang="0">
                  <a:pos x="367" y="352"/>
                </a:cxn>
                <a:cxn ang="0">
                  <a:pos x="333" y="371"/>
                </a:cxn>
                <a:cxn ang="0">
                  <a:pos x="387" y="468"/>
                </a:cxn>
                <a:cxn ang="0">
                  <a:pos x="436" y="567"/>
                </a:cxn>
                <a:cxn ang="0">
                  <a:pos x="442" y="591"/>
                </a:cxn>
                <a:cxn ang="0">
                  <a:pos x="438" y="610"/>
                </a:cxn>
                <a:cxn ang="0">
                  <a:pos x="428" y="628"/>
                </a:cxn>
                <a:cxn ang="0">
                  <a:pos x="414" y="642"/>
                </a:cxn>
                <a:cxn ang="0">
                  <a:pos x="396" y="650"/>
                </a:cxn>
                <a:cxn ang="0">
                  <a:pos x="377" y="654"/>
                </a:cxn>
                <a:cxn ang="0">
                  <a:pos x="361" y="652"/>
                </a:cxn>
                <a:cxn ang="0">
                  <a:pos x="347" y="646"/>
                </a:cxn>
                <a:cxn ang="0">
                  <a:pos x="335" y="634"/>
                </a:cxn>
                <a:cxn ang="0">
                  <a:pos x="323" y="616"/>
                </a:cxn>
                <a:cxn ang="0">
                  <a:pos x="268" y="504"/>
                </a:cxn>
                <a:cxn ang="0">
                  <a:pos x="204" y="393"/>
                </a:cxn>
                <a:cxn ang="0">
                  <a:pos x="121" y="393"/>
                </a:cxn>
                <a:cxn ang="0">
                  <a:pos x="121" y="593"/>
                </a:cxn>
                <a:cxn ang="0">
                  <a:pos x="117" y="616"/>
                </a:cxn>
                <a:cxn ang="0">
                  <a:pos x="103" y="636"/>
                </a:cxn>
                <a:cxn ang="0">
                  <a:pos x="85" y="648"/>
                </a:cxn>
                <a:cxn ang="0">
                  <a:pos x="59" y="654"/>
                </a:cxn>
                <a:cxn ang="0">
                  <a:pos x="38" y="648"/>
                </a:cxn>
                <a:cxn ang="0">
                  <a:pos x="18" y="636"/>
                </a:cxn>
                <a:cxn ang="0">
                  <a:pos x="4" y="616"/>
                </a:cxn>
                <a:cxn ang="0">
                  <a:pos x="0" y="593"/>
                </a:cxn>
                <a:cxn ang="0">
                  <a:pos x="0" y="61"/>
                </a:cxn>
                <a:cxn ang="0">
                  <a:pos x="4" y="37"/>
                </a:cxn>
                <a:cxn ang="0">
                  <a:pos x="18" y="18"/>
                </a:cxn>
                <a:cxn ang="0">
                  <a:pos x="38" y="6"/>
                </a:cxn>
                <a:cxn ang="0">
                  <a:pos x="59" y="0"/>
                </a:cxn>
              </a:cxnLst>
              <a:rect l="0" t="0" r="r" b="b"/>
              <a:pathLst>
                <a:path w="442" h="654">
                  <a:moveTo>
                    <a:pt x="121" y="114"/>
                  </a:moveTo>
                  <a:lnTo>
                    <a:pt x="121" y="282"/>
                  </a:lnTo>
                  <a:lnTo>
                    <a:pt x="222" y="282"/>
                  </a:lnTo>
                  <a:lnTo>
                    <a:pt x="252" y="280"/>
                  </a:lnTo>
                  <a:lnTo>
                    <a:pt x="276" y="272"/>
                  </a:lnTo>
                  <a:lnTo>
                    <a:pt x="295" y="259"/>
                  </a:lnTo>
                  <a:lnTo>
                    <a:pt x="307" y="239"/>
                  </a:lnTo>
                  <a:lnTo>
                    <a:pt x="311" y="215"/>
                  </a:lnTo>
                  <a:lnTo>
                    <a:pt x="311" y="180"/>
                  </a:lnTo>
                  <a:lnTo>
                    <a:pt x="307" y="158"/>
                  </a:lnTo>
                  <a:lnTo>
                    <a:pt x="297" y="138"/>
                  </a:lnTo>
                  <a:lnTo>
                    <a:pt x="280" y="124"/>
                  </a:lnTo>
                  <a:lnTo>
                    <a:pt x="256" y="116"/>
                  </a:lnTo>
                  <a:lnTo>
                    <a:pt x="226" y="114"/>
                  </a:lnTo>
                  <a:lnTo>
                    <a:pt x="121" y="114"/>
                  </a:lnTo>
                  <a:close/>
                  <a:moveTo>
                    <a:pt x="59" y="0"/>
                  </a:moveTo>
                  <a:lnTo>
                    <a:pt x="228" y="0"/>
                  </a:lnTo>
                  <a:lnTo>
                    <a:pt x="276" y="4"/>
                  </a:lnTo>
                  <a:lnTo>
                    <a:pt x="317" y="12"/>
                  </a:lnTo>
                  <a:lnTo>
                    <a:pt x="353" y="27"/>
                  </a:lnTo>
                  <a:lnTo>
                    <a:pt x="383" y="47"/>
                  </a:lnTo>
                  <a:lnTo>
                    <a:pt x="404" y="73"/>
                  </a:lnTo>
                  <a:lnTo>
                    <a:pt x="422" y="104"/>
                  </a:lnTo>
                  <a:lnTo>
                    <a:pt x="430" y="140"/>
                  </a:lnTo>
                  <a:lnTo>
                    <a:pt x="434" y="180"/>
                  </a:lnTo>
                  <a:lnTo>
                    <a:pt x="434" y="215"/>
                  </a:lnTo>
                  <a:lnTo>
                    <a:pt x="430" y="257"/>
                  </a:lnTo>
                  <a:lnTo>
                    <a:pt x="416" y="294"/>
                  </a:lnTo>
                  <a:lnTo>
                    <a:pt x="396" y="326"/>
                  </a:lnTo>
                  <a:lnTo>
                    <a:pt x="367" y="352"/>
                  </a:lnTo>
                  <a:lnTo>
                    <a:pt x="333" y="371"/>
                  </a:lnTo>
                  <a:lnTo>
                    <a:pt x="387" y="468"/>
                  </a:lnTo>
                  <a:lnTo>
                    <a:pt x="436" y="567"/>
                  </a:lnTo>
                  <a:lnTo>
                    <a:pt x="442" y="591"/>
                  </a:lnTo>
                  <a:lnTo>
                    <a:pt x="438" y="610"/>
                  </a:lnTo>
                  <a:lnTo>
                    <a:pt x="428" y="628"/>
                  </a:lnTo>
                  <a:lnTo>
                    <a:pt x="414" y="642"/>
                  </a:lnTo>
                  <a:lnTo>
                    <a:pt x="396" y="650"/>
                  </a:lnTo>
                  <a:lnTo>
                    <a:pt x="377" y="654"/>
                  </a:lnTo>
                  <a:lnTo>
                    <a:pt x="361" y="652"/>
                  </a:lnTo>
                  <a:lnTo>
                    <a:pt x="347" y="646"/>
                  </a:lnTo>
                  <a:lnTo>
                    <a:pt x="335" y="634"/>
                  </a:lnTo>
                  <a:lnTo>
                    <a:pt x="323" y="616"/>
                  </a:lnTo>
                  <a:lnTo>
                    <a:pt x="268" y="504"/>
                  </a:lnTo>
                  <a:lnTo>
                    <a:pt x="204" y="393"/>
                  </a:lnTo>
                  <a:lnTo>
                    <a:pt x="121" y="393"/>
                  </a:lnTo>
                  <a:lnTo>
                    <a:pt x="121" y="593"/>
                  </a:lnTo>
                  <a:lnTo>
                    <a:pt x="117" y="616"/>
                  </a:lnTo>
                  <a:lnTo>
                    <a:pt x="103" y="636"/>
                  </a:lnTo>
                  <a:lnTo>
                    <a:pt x="85" y="648"/>
                  </a:lnTo>
                  <a:lnTo>
                    <a:pt x="59" y="654"/>
                  </a:lnTo>
                  <a:lnTo>
                    <a:pt x="38" y="648"/>
                  </a:lnTo>
                  <a:lnTo>
                    <a:pt x="18" y="636"/>
                  </a:lnTo>
                  <a:lnTo>
                    <a:pt x="4" y="616"/>
                  </a:lnTo>
                  <a:lnTo>
                    <a:pt x="0" y="593"/>
                  </a:lnTo>
                  <a:lnTo>
                    <a:pt x="0" y="61"/>
                  </a:lnTo>
                  <a:lnTo>
                    <a:pt x="4" y="37"/>
                  </a:lnTo>
                  <a:lnTo>
                    <a:pt x="18" y="18"/>
                  </a:lnTo>
                  <a:lnTo>
                    <a:pt x="38" y="6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black">
            <a:xfrm>
              <a:off x="590551" y="3948113"/>
              <a:ext cx="303213" cy="373063"/>
            </a:xfrm>
            <a:custGeom>
              <a:avLst/>
              <a:gdLst/>
              <a:ahLst/>
              <a:cxnLst>
                <a:cxn ang="0">
                  <a:pos x="193" y="108"/>
                </a:cxn>
                <a:cxn ang="0">
                  <a:pos x="167" y="110"/>
                </a:cxn>
                <a:cxn ang="0">
                  <a:pos x="147" y="122"/>
                </a:cxn>
                <a:cxn ang="0">
                  <a:pos x="131" y="138"/>
                </a:cxn>
                <a:cxn ang="0">
                  <a:pos x="123" y="160"/>
                </a:cxn>
                <a:cxn ang="0">
                  <a:pos x="121" y="189"/>
                </a:cxn>
                <a:cxn ang="0">
                  <a:pos x="121" y="282"/>
                </a:cxn>
                <a:cxn ang="0">
                  <a:pos x="123" y="310"/>
                </a:cxn>
                <a:cxn ang="0">
                  <a:pos x="131" y="334"/>
                </a:cxn>
                <a:cxn ang="0">
                  <a:pos x="147" y="349"/>
                </a:cxn>
                <a:cxn ang="0">
                  <a:pos x="167" y="359"/>
                </a:cxn>
                <a:cxn ang="0">
                  <a:pos x="193" y="363"/>
                </a:cxn>
                <a:cxn ang="0">
                  <a:pos x="218" y="359"/>
                </a:cxn>
                <a:cxn ang="0">
                  <a:pos x="238" y="349"/>
                </a:cxn>
                <a:cxn ang="0">
                  <a:pos x="252" y="334"/>
                </a:cxn>
                <a:cxn ang="0">
                  <a:pos x="260" y="310"/>
                </a:cxn>
                <a:cxn ang="0">
                  <a:pos x="262" y="282"/>
                </a:cxn>
                <a:cxn ang="0">
                  <a:pos x="262" y="189"/>
                </a:cxn>
                <a:cxn ang="0">
                  <a:pos x="260" y="160"/>
                </a:cxn>
                <a:cxn ang="0">
                  <a:pos x="252" y="138"/>
                </a:cxn>
                <a:cxn ang="0">
                  <a:pos x="238" y="122"/>
                </a:cxn>
                <a:cxn ang="0">
                  <a:pos x="218" y="110"/>
                </a:cxn>
                <a:cxn ang="0">
                  <a:pos x="193" y="108"/>
                </a:cxn>
                <a:cxn ang="0">
                  <a:pos x="193" y="0"/>
                </a:cxn>
                <a:cxn ang="0">
                  <a:pos x="238" y="4"/>
                </a:cxn>
                <a:cxn ang="0">
                  <a:pos x="278" y="15"/>
                </a:cxn>
                <a:cxn ang="0">
                  <a:pos x="310" y="31"/>
                </a:cxn>
                <a:cxn ang="0">
                  <a:pos x="337" y="55"/>
                </a:cxn>
                <a:cxn ang="0">
                  <a:pos x="357" y="83"/>
                </a:cxn>
                <a:cxn ang="0">
                  <a:pos x="371" y="116"/>
                </a:cxn>
                <a:cxn ang="0">
                  <a:pos x="381" y="150"/>
                </a:cxn>
                <a:cxn ang="0">
                  <a:pos x="383" y="187"/>
                </a:cxn>
                <a:cxn ang="0">
                  <a:pos x="383" y="282"/>
                </a:cxn>
                <a:cxn ang="0">
                  <a:pos x="381" y="320"/>
                </a:cxn>
                <a:cxn ang="0">
                  <a:pos x="371" y="355"/>
                </a:cxn>
                <a:cxn ang="0">
                  <a:pos x="357" y="387"/>
                </a:cxn>
                <a:cxn ang="0">
                  <a:pos x="337" y="415"/>
                </a:cxn>
                <a:cxn ang="0">
                  <a:pos x="310" y="438"/>
                </a:cxn>
                <a:cxn ang="0">
                  <a:pos x="278" y="456"/>
                </a:cxn>
                <a:cxn ang="0">
                  <a:pos x="238" y="466"/>
                </a:cxn>
                <a:cxn ang="0">
                  <a:pos x="193" y="470"/>
                </a:cxn>
                <a:cxn ang="0">
                  <a:pos x="145" y="466"/>
                </a:cxn>
                <a:cxn ang="0">
                  <a:pos x="105" y="456"/>
                </a:cxn>
                <a:cxn ang="0">
                  <a:pos x="74" y="438"/>
                </a:cxn>
                <a:cxn ang="0">
                  <a:pos x="46" y="415"/>
                </a:cxn>
                <a:cxn ang="0">
                  <a:pos x="26" y="387"/>
                </a:cxn>
                <a:cxn ang="0">
                  <a:pos x="12" y="355"/>
                </a:cxn>
                <a:cxn ang="0">
                  <a:pos x="4" y="320"/>
                </a:cxn>
                <a:cxn ang="0">
                  <a:pos x="0" y="282"/>
                </a:cxn>
                <a:cxn ang="0">
                  <a:pos x="0" y="187"/>
                </a:cxn>
                <a:cxn ang="0">
                  <a:pos x="4" y="150"/>
                </a:cxn>
                <a:cxn ang="0">
                  <a:pos x="12" y="116"/>
                </a:cxn>
                <a:cxn ang="0">
                  <a:pos x="26" y="83"/>
                </a:cxn>
                <a:cxn ang="0">
                  <a:pos x="46" y="55"/>
                </a:cxn>
                <a:cxn ang="0">
                  <a:pos x="74" y="31"/>
                </a:cxn>
                <a:cxn ang="0">
                  <a:pos x="105" y="15"/>
                </a:cxn>
                <a:cxn ang="0">
                  <a:pos x="145" y="4"/>
                </a:cxn>
                <a:cxn ang="0">
                  <a:pos x="193" y="0"/>
                </a:cxn>
              </a:cxnLst>
              <a:rect l="0" t="0" r="r" b="b"/>
              <a:pathLst>
                <a:path w="383" h="470">
                  <a:moveTo>
                    <a:pt x="193" y="108"/>
                  </a:moveTo>
                  <a:lnTo>
                    <a:pt x="167" y="110"/>
                  </a:lnTo>
                  <a:lnTo>
                    <a:pt x="147" y="122"/>
                  </a:lnTo>
                  <a:lnTo>
                    <a:pt x="131" y="138"/>
                  </a:lnTo>
                  <a:lnTo>
                    <a:pt x="123" y="160"/>
                  </a:lnTo>
                  <a:lnTo>
                    <a:pt x="121" y="189"/>
                  </a:lnTo>
                  <a:lnTo>
                    <a:pt x="121" y="282"/>
                  </a:lnTo>
                  <a:lnTo>
                    <a:pt x="123" y="310"/>
                  </a:lnTo>
                  <a:lnTo>
                    <a:pt x="131" y="334"/>
                  </a:lnTo>
                  <a:lnTo>
                    <a:pt x="147" y="349"/>
                  </a:lnTo>
                  <a:lnTo>
                    <a:pt x="167" y="359"/>
                  </a:lnTo>
                  <a:lnTo>
                    <a:pt x="193" y="363"/>
                  </a:lnTo>
                  <a:lnTo>
                    <a:pt x="218" y="359"/>
                  </a:lnTo>
                  <a:lnTo>
                    <a:pt x="238" y="349"/>
                  </a:lnTo>
                  <a:lnTo>
                    <a:pt x="252" y="334"/>
                  </a:lnTo>
                  <a:lnTo>
                    <a:pt x="260" y="310"/>
                  </a:lnTo>
                  <a:lnTo>
                    <a:pt x="262" y="282"/>
                  </a:lnTo>
                  <a:lnTo>
                    <a:pt x="262" y="189"/>
                  </a:lnTo>
                  <a:lnTo>
                    <a:pt x="260" y="160"/>
                  </a:lnTo>
                  <a:lnTo>
                    <a:pt x="252" y="138"/>
                  </a:lnTo>
                  <a:lnTo>
                    <a:pt x="238" y="122"/>
                  </a:lnTo>
                  <a:lnTo>
                    <a:pt x="218" y="110"/>
                  </a:lnTo>
                  <a:lnTo>
                    <a:pt x="193" y="108"/>
                  </a:lnTo>
                  <a:close/>
                  <a:moveTo>
                    <a:pt x="193" y="0"/>
                  </a:moveTo>
                  <a:lnTo>
                    <a:pt x="238" y="4"/>
                  </a:lnTo>
                  <a:lnTo>
                    <a:pt x="278" y="15"/>
                  </a:lnTo>
                  <a:lnTo>
                    <a:pt x="310" y="31"/>
                  </a:lnTo>
                  <a:lnTo>
                    <a:pt x="337" y="55"/>
                  </a:lnTo>
                  <a:lnTo>
                    <a:pt x="357" y="83"/>
                  </a:lnTo>
                  <a:lnTo>
                    <a:pt x="371" y="116"/>
                  </a:lnTo>
                  <a:lnTo>
                    <a:pt x="381" y="150"/>
                  </a:lnTo>
                  <a:lnTo>
                    <a:pt x="383" y="187"/>
                  </a:lnTo>
                  <a:lnTo>
                    <a:pt x="383" y="282"/>
                  </a:lnTo>
                  <a:lnTo>
                    <a:pt x="381" y="320"/>
                  </a:lnTo>
                  <a:lnTo>
                    <a:pt x="371" y="355"/>
                  </a:lnTo>
                  <a:lnTo>
                    <a:pt x="357" y="387"/>
                  </a:lnTo>
                  <a:lnTo>
                    <a:pt x="337" y="415"/>
                  </a:lnTo>
                  <a:lnTo>
                    <a:pt x="310" y="438"/>
                  </a:lnTo>
                  <a:lnTo>
                    <a:pt x="278" y="456"/>
                  </a:lnTo>
                  <a:lnTo>
                    <a:pt x="238" y="466"/>
                  </a:lnTo>
                  <a:lnTo>
                    <a:pt x="193" y="470"/>
                  </a:lnTo>
                  <a:lnTo>
                    <a:pt x="145" y="466"/>
                  </a:lnTo>
                  <a:lnTo>
                    <a:pt x="105" y="456"/>
                  </a:lnTo>
                  <a:lnTo>
                    <a:pt x="74" y="438"/>
                  </a:lnTo>
                  <a:lnTo>
                    <a:pt x="46" y="415"/>
                  </a:lnTo>
                  <a:lnTo>
                    <a:pt x="26" y="387"/>
                  </a:lnTo>
                  <a:lnTo>
                    <a:pt x="12" y="355"/>
                  </a:lnTo>
                  <a:lnTo>
                    <a:pt x="4" y="320"/>
                  </a:lnTo>
                  <a:lnTo>
                    <a:pt x="0" y="282"/>
                  </a:lnTo>
                  <a:lnTo>
                    <a:pt x="0" y="187"/>
                  </a:lnTo>
                  <a:lnTo>
                    <a:pt x="4" y="150"/>
                  </a:lnTo>
                  <a:lnTo>
                    <a:pt x="12" y="116"/>
                  </a:lnTo>
                  <a:lnTo>
                    <a:pt x="26" y="83"/>
                  </a:lnTo>
                  <a:lnTo>
                    <a:pt x="46" y="55"/>
                  </a:lnTo>
                  <a:lnTo>
                    <a:pt x="74" y="31"/>
                  </a:lnTo>
                  <a:lnTo>
                    <a:pt x="105" y="15"/>
                  </a:lnTo>
                  <a:lnTo>
                    <a:pt x="145" y="4"/>
                  </a:lnTo>
                  <a:lnTo>
                    <a:pt x="193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black">
            <a:xfrm>
              <a:off x="930276" y="3948113"/>
              <a:ext cx="325438" cy="498475"/>
            </a:xfrm>
            <a:custGeom>
              <a:avLst/>
              <a:gdLst/>
              <a:ahLst/>
              <a:cxnLst>
                <a:cxn ang="0">
                  <a:pos x="77" y="0"/>
                </a:cxn>
                <a:cxn ang="0">
                  <a:pos x="93" y="2"/>
                </a:cxn>
                <a:cxn ang="0">
                  <a:pos x="107" y="9"/>
                </a:cxn>
                <a:cxn ang="0">
                  <a:pos x="119" y="23"/>
                </a:cxn>
                <a:cxn ang="0">
                  <a:pos x="126" y="41"/>
                </a:cxn>
                <a:cxn ang="0">
                  <a:pos x="144" y="94"/>
                </a:cxn>
                <a:cxn ang="0">
                  <a:pos x="164" y="158"/>
                </a:cxn>
                <a:cxn ang="0">
                  <a:pos x="188" y="227"/>
                </a:cxn>
                <a:cxn ang="0">
                  <a:pos x="214" y="298"/>
                </a:cxn>
                <a:cxn ang="0">
                  <a:pos x="295" y="41"/>
                </a:cxn>
                <a:cxn ang="0">
                  <a:pos x="305" y="21"/>
                </a:cxn>
                <a:cxn ang="0">
                  <a:pos x="319" y="9"/>
                </a:cxn>
                <a:cxn ang="0">
                  <a:pos x="333" y="2"/>
                </a:cxn>
                <a:cxn ang="0">
                  <a:pos x="351" y="0"/>
                </a:cxn>
                <a:cxn ang="0">
                  <a:pos x="368" y="2"/>
                </a:cxn>
                <a:cxn ang="0">
                  <a:pos x="384" y="9"/>
                </a:cxn>
                <a:cxn ang="0">
                  <a:pos x="398" y="21"/>
                </a:cxn>
                <a:cxn ang="0">
                  <a:pos x="406" y="37"/>
                </a:cxn>
                <a:cxn ang="0">
                  <a:pos x="410" y="57"/>
                </a:cxn>
                <a:cxn ang="0">
                  <a:pos x="406" y="81"/>
                </a:cxn>
                <a:cxn ang="0">
                  <a:pos x="293" y="401"/>
                </a:cxn>
                <a:cxn ang="0">
                  <a:pos x="269" y="458"/>
                </a:cxn>
                <a:cxn ang="0">
                  <a:pos x="245" y="507"/>
                </a:cxn>
                <a:cxn ang="0">
                  <a:pos x="218" y="547"/>
                </a:cxn>
                <a:cxn ang="0">
                  <a:pos x="186" y="579"/>
                </a:cxn>
                <a:cxn ang="0">
                  <a:pos x="152" y="604"/>
                </a:cxn>
                <a:cxn ang="0">
                  <a:pos x="111" y="620"/>
                </a:cxn>
                <a:cxn ang="0">
                  <a:pos x="65" y="628"/>
                </a:cxn>
                <a:cxn ang="0">
                  <a:pos x="43" y="626"/>
                </a:cxn>
                <a:cxn ang="0">
                  <a:pos x="23" y="618"/>
                </a:cxn>
                <a:cxn ang="0">
                  <a:pos x="12" y="604"/>
                </a:cxn>
                <a:cxn ang="0">
                  <a:pos x="2" y="588"/>
                </a:cxn>
                <a:cxn ang="0">
                  <a:pos x="0" y="571"/>
                </a:cxn>
                <a:cxn ang="0">
                  <a:pos x="2" y="553"/>
                </a:cxn>
                <a:cxn ang="0">
                  <a:pos x="8" y="539"/>
                </a:cxn>
                <a:cxn ang="0">
                  <a:pos x="17" y="525"/>
                </a:cxn>
                <a:cxn ang="0">
                  <a:pos x="33" y="517"/>
                </a:cxn>
                <a:cxn ang="0">
                  <a:pos x="53" y="511"/>
                </a:cxn>
                <a:cxn ang="0">
                  <a:pos x="75" y="509"/>
                </a:cxn>
                <a:cxn ang="0">
                  <a:pos x="97" y="504"/>
                </a:cxn>
                <a:cxn ang="0">
                  <a:pos x="117" y="492"/>
                </a:cxn>
                <a:cxn ang="0">
                  <a:pos x="138" y="474"/>
                </a:cxn>
                <a:cxn ang="0">
                  <a:pos x="158" y="446"/>
                </a:cxn>
                <a:cxn ang="0">
                  <a:pos x="134" y="391"/>
                </a:cxn>
                <a:cxn ang="0">
                  <a:pos x="113" y="332"/>
                </a:cxn>
                <a:cxn ang="0">
                  <a:pos x="91" y="274"/>
                </a:cxn>
                <a:cxn ang="0">
                  <a:pos x="69" y="217"/>
                </a:cxn>
                <a:cxn ang="0">
                  <a:pos x="49" y="164"/>
                </a:cxn>
                <a:cxn ang="0">
                  <a:pos x="33" y="114"/>
                </a:cxn>
                <a:cxn ang="0">
                  <a:pos x="19" y="73"/>
                </a:cxn>
                <a:cxn ang="0">
                  <a:pos x="17" y="47"/>
                </a:cxn>
                <a:cxn ang="0">
                  <a:pos x="23" y="27"/>
                </a:cxn>
                <a:cxn ang="0">
                  <a:pos x="37" y="11"/>
                </a:cxn>
                <a:cxn ang="0">
                  <a:pos x="57" y="4"/>
                </a:cxn>
                <a:cxn ang="0">
                  <a:pos x="77" y="0"/>
                </a:cxn>
              </a:cxnLst>
              <a:rect l="0" t="0" r="r" b="b"/>
              <a:pathLst>
                <a:path w="410" h="628">
                  <a:moveTo>
                    <a:pt x="77" y="0"/>
                  </a:moveTo>
                  <a:lnTo>
                    <a:pt x="93" y="2"/>
                  </a:lnTo>
                  <a:lnTo>
                    <a:pt x="107" y="9"/>
                  </a:lnTo>
                  <a:lnTo>
                    <a:pt x="119" y="23"/>
                  </a:lnTo>
                  <a:lnTo>
                    <a:pt x="126" y="41"/>
                  </a:lnTo>
                  <a:lnTo>
                    <a:pt x="144" y="94"/>
                  </a:lnTo>
                  <a:lnTo>
                    <a:pt x="164" y="158"/>
                  </a:lnTo>
                  <a:lnTo>
                    <a:pt x="188" y="227"/>
                  </a:lnTo>
                  <a:lnTo>
                    <a:pt x="214" y="298"/>
                  </a:lnTo>
                  <a:lnTo>
                    <a:pt x="295" y="41"/>
                  </a:lnTo>
                  <a:lnTo>
                    <a:pt x="305" y="21"/>
                  </a:lnTo>
                  <a:lnTo>
                    <a:pt x="319" y="9"/>
                  </a:lnTo>
                  <a:lnTo>
                    <a:pt x="333" y="2"/>
                  </a:lnTo>
                  <a:lnTo>
                    <a:pt x="351" y="0"/>
                  </a:lnTo>
                  <a:lnTo>
                    <a:pt x="368" y="2"/>
                  </a:lnTo>
                  <a:lnTo>
                    <a:pt x="384" y="9"/>
                  </a:lnTo>
                  <a:lnTo>
                    <a:pt x="398" y="21"/>
                  </a:lnTo>
                  <a:lnTo>
                    <a:pt x="406" y="37"/>
                  </a:lnTo>
                  <a:lnTo>
                    <a:pt x="410" y="57"/>
                  </a:lnTo>
                  <a:lnTo>
                    <a:pt x="406" y="81"/>
                  </a:lnTo>
                  <a:lnTo>
                    <a:pt x="293" y="401"/>
                  </a:lnTo>
                  <a:lnTo>
                    <a:pt x="269" y="458"/>
                  </a:lnTo>
                  <a:lnTo>
                    <a:pt x="245" y="507"/>
                  </a:lnTo>
                  <a:lnTo>
                    <a:pt x="218" y="547"/>
                  </a:lnTo>
                  <a:lnTo>
                    <a:pt x="186" y="579"/>
                  </a:lnTo>
                  <a:lnTo>
                    <a:pt x="152" y="604"/>
                  </a:lnTo>
                  <a:lnTo>
                    <a:pt x="111" y="620"/>
                  </a:lnTo>
                  <a:lnTo>
                    <a:pt x="65" y="628"/>
                  </a:lnTo>
                  <a:lnTo>
                    <a:pt x="43" y="626"/>
                  </a:lnTo>
                  <a:lnTo>
                    <a:pt x="23" y="618"/>
                  </a:lnTo>
                  <a:lnTo>
                    <a:pt x="12" y="604"/>
                  </a:lnTo>
                  <a:lnTo>
                    <a:pt x="2" y="588"/>
                  </a:lnTo>
                  <a:lnTo>
                    <a:pt x="0" y="571"/>
                  </a:lnTo>
                  <a:lnTo>
                    <a:pt x="2" y="553"/>
                  </a:lnTo>
                  <a:lnTo>
                    <a:pt x="8" y="539"/>
                  </a:lnTo>
                  <a:lnTo>
                    <a:pt x="17" y="525"/>
                  </a:lnTo>
                  <a:lnTo>
                    <a:pt x="33" y="517"/>
                  </a:lnTo>
                  <a:lnTo>
                    <a:pt x="53" y="511"/>
                  </a:lnTo>
                  <a:lnTo>
                    <a:pt x="75" y="509"/>
                  </a:lnTo>
                  <a:lnTo>
                    <a:pt x="97" y="504"/>
                  </a:lnTo>
                  <a:lnTo>
                    <a:pt x="117" y="492"/>
                  </a:lnTo>
                  <a:lnTo>
                    <a:pt x="138" y="474"/>
                  </a:lnTo>
                  <a:lnTo>
                    <a:pt x="158" y="446"/>
                  </a:lnTo>
                  <a:lnTo>
                    <a:pt x="134" y="391"/>
                  </a:lnTo>
                  <a:lnTo>
                    <a:pt x="113" y="332"/>
                  </a:lnTo>
                  <a:lnTo>
                    <a:pt x="91" y="274"/>
                  </a:lnTo>
                  <a:lnTo>
                    <a:pt x="69" y="217"/>
                  </a:lnTo>
                  <a:lnTo>
                    <a:pt x="49" y="164"/>
                  </a:lnTo>
                  <a:lnTo>
                    <a:pt x="33" y="114"/>
                  </a:lnTo>
                  <a:lnTo>
                    <a:pt x="19" y="73"/>
                  </a:lnTo>
                  <a:lnTo>
                    <a:pt x="17" y="47"/>
                  </a:lnTo>
                  <a:lnTo>
                    <a:pt x="23" y="27"/>
                  </a:lnTo>
                  <a:lnTo>
                    <a:pt x="37" y="11"/>
                  </a:lnTo>
                  <a:lnTo>
                    <a:pt x="57" y="4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 userDrawn="1"/>
          </p:nvSpPr>
          <p:spPr bwMode="black">
            <a:xfrm>
              <a:off x="1293813" y="3948113"/>
              <a:ext cx="328613" cy="373063"/>
            </a:xfrm>
            <a:custGeom>
              <a:avLst/>
              <a:gdLst/>
              <a:ahLst/>
              <a:cxnLst>
                <a:cxn ang="0">
                  <a:pos x="162" y="280"/>
                </a:cxn>
                <a:cxn ang="0">
                  <a:pos x="128" y="298"/>
                </a:cxn>
                <a:cxn ang="0">
                  <a:pos x="118" y="328"/>
                </a:cxn>
                <a:cxn ang="0">
                  <a:pos x="120" y="351"/>
                </a:cxn>
                <a:cxn ang="0">
                  <a:pos x="140" y="377"/>
                </a:cxn>
                <a:cxn ang="0">
                  <a:pos x="184" y="385"/>
                </a:cxn>
                <a:cxn ang="0">
                  <a:pos x="228" y="375"/>
                </a:cxn>
                <a:cxn ang="0">
                  <a:pos x="251" y="341"/>
                </a:cxn>
                <a:cxn ang="0">
                  <a:pos x="253" y="278"/>
                </a:cxn>
                <a:cxn ang="0">
                  <a:pos x="196" y="0"/>
                </a:cxn>
                <a:cxn ang="0">
                  <a:pos x="279" y="11"/>
                </a:cxn>
                <a:cxn ang="0">
                  <a:pos x="333" y="45"/>
                </a:cxn>
                <a:cxn ang="0">
                  <a:pos x="364" y="104"/>
                </a:cxn>
                <a:cxn ang="0">
                  <a:pos x="374" y="189"/>
                </a:cxn>
                <a:cxn ang="0">
                  <a:pos x="376" y="355"/>
                </a:cxn>
                <a:cxn ang="0">
                  <a:pos x="388" y="379"/>
                </a:cxn>
                <a:cxn ang="0">
                  <a:pos x="406" y="395"/>
                </a:cxn>
                <a:cxn ang="0">
                  <a:pos x="414" y="422"/>
                </a:cxn>
                <a:cxn ang="0">
                  <a:pos x="402" y="454"/>
                </a:cxn>
                <a:cxn ang="0">
                  <a:pos x="374" y="468"/>
                </a:cxn>
                <a:cxn ang="0">
                  <a:pos x="331" y="468"/>
                </a:cxn>
                <a:cxn ang="0">
                  <a:pos x="299" y="452"/>
                </a:cxn>
                <a:cxn ang="0">
                  <a:pos x="285" y="440"/>
                </a:cxn>
                <a:cxn ang="0">
                  <a:pos x="253" y="452"/>
                </a:cxn>
                <a:cxn ang="0">
                  <a:pos x="190" y="468"/>
                </a:cxn>
                <a:cxn ang="0">
                  <a:pos x="117" y="468"/>
                </a:cxn>
                <a:cxn ang="0">
                  <a:pos x="51" y="442"/>
                </a:cxn>
                <a:cxn ang="0">
                  <a:pos x="11" y="397"/>
                </a:cxn>
                <a:cxn ang="0">
                  <a:pos x="0" y="332"/>
                </a:cxn>
                <a:cxn ang="0">
                  <a:pos x="4" y="292"/>
                </a:cxn>
                <a:cxn ang="0">
                  <a:pos x="33" y="239"/>
                </a:cxn>
                <a:cxn ang="0">
                  <a:pos x="91" y="203"/>
                </a:cxn>
                <a:cxn ang="0">
                  <a:pos x="174" y="191"/>
                </a:cxn>
                <a:cxn ang="0">
                  <a:pos x="253" y="175"/>
                </a:cxn>
                <a:cxn ang="0">
                  <a:pos x="249" y="132"/>
                </a:cxn>
                <a:cxn ang="0">
                  <a:pos x="228" y="104"/>
                </a:cxn>
                <a:cxn ang="0">
                  <a:pos x="186" y="94"/>
                </a:cxn>
                <a:cxn ang="0">
                  <a:pos x="128" y="104"/>
                </a:cxn>
                <a:cxn ang="0">
                  <a:pos x="85" y="120"/>
                </a:cxn>
                <a:cxn ang="0">
                  <a:pos x="51" y="110"/>
                </a:cxn>
                <a:cxn ang="0">
                  <a:pos x="31" y="81"/>
                </a:cxn>
                <a:cxn ang="0">
                  <a:pos x="39" y="47"/>
                </a:cxn>
                <a:cxn ang="0">
                  <a:pos x="87" y="17"/>
                </a:cxn>
                <a:cxn ang="0">
                  <a:pos x="160" y="2"/>
                </a:cxn>
              </a:cxnLst>
              <a:rect l="0" t="0" r="r" b="b"/>
              <a:pathLst>
                <a:path w="414" h="470">
                  <a:moveTo>
                    <a:pt x="190" y="278"/>
                  </a:moveTo>
                  <a:lnTo>
                    <a:pt x="162" y="280"/>
                  </a:lnTo>
                  <a:lnTo>
                    <a:pt x="142" y="286"/>
                  </a:lnTo>
                  <a:lnTo>
                    <a:pt x="128" y="298"/>
                  </a:lnTo>
                  <a:lnTo>
                    <a:pt x="120" y="312"/>
                  </a:lnTo>
                  <a:lnTo>
                    <a:pt x="118" y="328"/>
                  </a:lnTo>
                  <a:lnTo>
                    <a:pt x="118" y="334"/>
                  </a:lnTo>
                  <a:lnTo>
                    <a:pt x="120" y="351"/>
                  </a:lnTo>
                  <a:lnTo>
                    <a:pt x="128" y="367"/>
                  </a:lnTo>
                  <a:lnTo>
                    <a:pt x="140" y="377"/>
                  </a:lnTo>
                  <a:lnTo>
                    <a:pt x="160" y="383"/>
                  </a:lnTo>
                  <a:lnTo>
                    <a:pt x="184" y="385"/>
                  </a:lnTo>
                  <a:lnTo>
                    <a:pt x="208" y="383"/>
                  </a:lnTo>
                  <a:lnTo>
                    <a:pt x="228" y="375"/>
                  </a:lnTo>
                  <a:lnTo>
                    <a:pt x="241" y="361"/>
                  </a:lnTo>
                  <a:lnTo>
                    <a:pt x="251" y="341"/>
                  </a:lnTo>
                  <a:lnTo>
                    <a:pt x="253" y="316"/>
                  </a:lnTo>
                  <a:lnTo>
                    <a:pt x="253" y="278"/>
                  </a:lnTo>
                  <a:lnTo>
                    <a:pt x="190" y="278"/>
                  </a:lnTo>
                  <a:close/>
                  <a:moveTo>
                    <a:pt x="196" y="0"/>
                  </a:moveTo>
                  <a:lnTo>
                    <a:pt x="241" y="2"/>
                  </a:lnTo>
                  <a:lnTo>
                    <a:pt x="279" y="11"/>
                  </a:lnTo>
                  <a:lnTo>
                    <a:pt x="309" y="25"/>
                  </a:lnTo>
                  <a:lnTo>
                    <a:pt x="333" y="45"/>
                  </a:lnTo>
                  <a:lnTo>
                    <a:pt x="352" y="71"/>
                  </a:lnTo>
                  <a:lnTo>
                    <a:pt x="364" y="104"/>
                  </a:lnTo>
                  <a:lnTo>
                    <a:pt x="372" y="142"/>
                  </a:lnTo>
                  <a:lnTo>
                    <a:pt x="374" y="189"/>
                  </a:lnTo>
                  <a:lnTo>
                    <a:pt x="374" y="338"/>
                  </a:lnTo>
                  <a:lnTo>
                    <a:pt x="376" y="355"/>
                  </a:lnTo>
                  <a:lnTo>
                    <a:pt x="380" y="369"/>
                  </a:lnTo>
                  <a:lnTo>
                    <a:pt x="388" y="379"/>
                  </a:lnTo>
                  <a:lnTo>
                    <a:pt x="396" y="387"/>
                  </a:lnTo>
                  <a:lnTo>
                    <a:pt x="406" y="395"/>
                  </a:lnTo>
                  <a:lnTo>
                    <a:pt x="412" y="407"/>
                  </a:lnTo>
                  <a:lnTo>
                    <a:pt x="414" y="422"/>
                  </a:lnTo>
                  <a:lnTo>
                    <a:pt x="410" y="440"/>
                  </a:lnTo>
                  <a:lnTo>
                    <a:pt x="402" y="454"/>
                  </a:lnTo>
                  <a:lnTo>
                    <a:pt x="390" y="464"/>
                  </a:lnTo>
                  <a:lnTo>
                    <a:pt x="374" y="468"/>
                  </a:lnTo>
                  <a:lnTo>
                    <a:pt x="352" y="470"/>
                  </a:lnTo>
                  <a:lnTo>
                    <a:pt x="331" y="468"/>
                  </a:lnTo>
                  <a:lnTo>
                    <a:pt x="313" y="460"/>
                  </a:lnTo>
                  <a:lnTo>
                    <a:pt x="299" y="452"/>
                  </a:lnTo>
                  <a:lnTo>
                    <a:pt x="291" y="446"/>
                  </a:lnTo>
                  <a:lnTo>
                    <a:pt x="285" y="440"/>
                  </a:lnTo>
                  <a:lnTo>
                    <a:pt x="281" y="434"/>
                  </a:lnTo>
                  <a:lnTo>
                    <a:pt x="253" y="452"/>
                  </a:lnTo>
                  <a:lnTo>
                    <a:pt x="222" y="462"/>
                  </a:lnTo>
                  <a:lnTo>
                    <a:pt x="190" y="468"/>
                  </a:lnTo>
                  <a:lnTo>
                    <a:pt x="158" y="470"/>
                  </a:lnTo>
                  <a:lnTo>
                    <a:pt x="117" y="468"/>
                  </a:lnTo>
                  <a:lnTo>
                    <a:pt x="81" y="458"/>
                  </a:lnTo>
                  <a:lnTo>
                    <a:pt x="51" y="442"/>
                  </a:lnTo>
                  <a:lnTo>
                    <a:pt x="29" y="422"/>
                  </a:lnTo>
                  <a:lnTo>
                    <a:pt x="11" y="397"/>
                  </a:lnTo>
                  <a:lnTo>
                    <a:pt x="2" y="367"/>
                  </a:lnTo>
                  <a:lnTo>
                    <a:pt x="0" y="332"/>
                  </a:lnTo>
                  <a:lnTo>
                    <a:pt x="0" y="326"/>
                  </a:lnTo>
                  <a:lnTo>
                    <a:pt x="4" y="292"/>
                  </a:lnTo>
                  <a:lnTo>
                    <a:pt x="13" y="262"/>
                  </a:lnTo>
                  <a:lnTo>
                    <a:pt x="33" y="239"/>
                  </a:lnTo>
                  <a:lnTo>
                    <a:pt x="57" y="219"/>
                  </a:lnTo>
                  <a:lnTo>
                    <a:pt x="91" y="203"/>
                  </a:lnTo>
                  <a:lnTo>
                    <a:pt x="128" y="195"/>
                  </a:lnTo>
                  <a:lnTo>
                    <a:pt x="174" y="191"/>
                  </a:lnTo>
                  <a:lnTo>
                    <a:pt x="253" y="191"/>
                  </a:lnTo>
                  <a:lnTo>
                    <a:pt x="253" y="175"/>
                  </a:lnTo>
                  <a:lnTo>
                    <a:pt x="253" y="152"/>
                  </a:lnTo>
                  <a:lnTo>
                    <a:pt x="249" y="132"/>
                  </a:lnTo>
                  <a:lnTo>
                    <a:pt x="241" y="116"/>
                  </a:lnTo>
                  <a:lnTo>
                    <a:pt x="228" y="104"/>
                  </a:lnTo>
                  <a:lnTo>
                    <a:pt x="210" y="96"/>
                  </a:lnTo>
                  <a:lnTo>
                    <a:pt x="186" y="94"/>
                  </a:lnTo>
                  <a:lnTo>
                    <a:pt x="154" y="96"/>
                  </a:lnTo>
                  <a:lnTo>
                    <a:pt x="128" y="104"/>
                  </a:lnTo>
                  <a:lnTo>
                    <a:pt x="107" y="114"/>
                  </a:lnTo>
                  <a:lnTo>
                    <a:pt x="85" y="120"/>
                  </a:lnTo>
                  <a:lnTo>
                    <a:pt x="67" y="118"/>
                  </a:lnTo>
                  <a:lnTo>
                    <a:pt x="51" y="110"/>
                  </a:lnTo>
                  <a:lnTo>
                    <a:pt x="39" y="96"/>
                  </a:lnTo>
                  <a:lnTo>
                    <a:pt x="31" y="81"/>
                  </a:lnTo>
                  <a:lnTo>
                    <a:pt x="31" y="65"/>
                  </a:lnTo>
                  <a:lnTo>
                    <a:pt x="39" y="47"/>
                  </a:lnTo>
                  <a:lnTo>
                    <a:pt x="55" y="33"/>
                  </a:lnTo>
                  <a:lnTo>
                    <a:pt x="87" y="17"/>
                  </a:lnTo>
                  <a:lnTo>
                    <a:pt x="122" y="7"/>
                  </a:lnTo>
                  <a:lnTo>
                    <a:pt x="160" y="2"/>
                  </a:lnTo>
                  <a:lnTo>
                    <a:pt x="196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 userDrawn="1"/>
          </p:nvSpPr>
          <p:spPr bwMode="black">
            <a:xfrm>
              <a:off x="1690688" y="3808413"/>
              <a:ext cx="128588" cy="512763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83" y="6"/>
                </a:cxn>
                <a:cxn ang="0">
                  <a:pos x="103" y="17"/>
                </a:cxn>
                <a:cxn ang="0">
                  <a:pos x="115" y="37"/>
                </a:cxn>
                <a:cxn ang="0">
                  <a:pos x="119" y="59"/>
                </a:cxn>
                <a:cxn ang="0">
                  <a:pos x="119" y="514"/>
                </a:cxn>
                <a:cxn ang="0">
                  <a:pos x="121" y="531"/>
                </a:cxn>
                <a:cxn ang="0">
                  <a:pos x="127" y="545"/>
                </a:cxn>
                <a:cxn ang="0">
                  <a:pos x="137" y="555"/>
                </a:cxn>
                <a:cxn ang="0">
                  <a:pos x="147" y="563"/>
                </a:cxn>
                <a:cxn ang="0">
                  <a:pos x="155" y="571"/>
                </a:cxn>
                <a:cxn ang="0">
                  <a:pos x="161" y="583"/>
                </a:cxn>
                <a:cxn ang="0">
                  <a:pos x="163" y="598"/>
                </a:cxn>
                <a:cxn ang="0">
                  <a:pos x="161" y="616"/>
                </a:cxn>
                <a:cxn ang="0">
                  <a:pos x="153" y="630"/>
                </a:cxn>
                <a:cxn ang="0">
                  <a:pos x="139" y="640"/>
                </a:cxn>
                <a:cxn ang="0">
                  <a:pos x="123" y="644"/>
                </a:cxn>
                <a:cxn ang="0">
                  <a:pos x="103" y="646"/>
                </a:cxn>
                <a:cxn ang="0">
                  <a:pos x="83" y="644"/>
                </a:cxn>
                <a:cxn ang="0">
                  <a:pos x="66" y="638"/>
                </a:cxn>
                <a:cxn ang="0">
                  <a:pos x="48" y="626"/>
                </a:cxn>
                <a:cxn ang="0">
                  <a:pos x="28" y="610"/>
                </a:cxn>
                <a:cxn ang="0">
                  <a:pos x="14" y="587"/>
                </a:cxn>
                <a:cxn ang="0">
                  <a:pos x="4" y="557"/>
                </a:cxn>
                <a:cxn ang="0">
                  <a:pos x="0" y="523"/>
                </a:cxn>
                <a:cxn ang="0">
                  <a:pos x="0" y="59"/>
                </a:cxn>
                <a:cxn ang="0">
                  <a:pos x="4" y="37"/>
                </a:cxn>
                <a:cxn ang="0">
                  <a:pos x="18" y="17"/>
                </a:cxn>
                <a:cxn ang="0">
                  <a:pos x="38" y="6"/>
                </a:cxn>
                <a:cxn ang="0">
                  <a:pos x="60" y="0"/>
                </a:cxn>
              </a:cxnLst>
              <a:rect l="0" t="0" r="r" b="b"/>
              <a:pathLst>
                <a:path w="163" h="646">
                  <a:moveTo>
                    <a:pt x="60" y="0"/>
                  </a:moveTo>
                  <a:lnTo>
                    <a:pt x="83" y="6"/>
                  </a:lnTo>
                  <a:lnTo>
                    <a:pt x="103" y="17"/>
                  </a:lnTo>
                  <a:lnTo>
                    <a:pt x="115" y="37"/>
                  </a:lnTo>
                  <a:lnTo>
                    <a:pt x="119" y="59"/>
                  </a:lnTo>
                  <a:lnTo>
                    <a:pt x="119" y="514"/>
                  </a:lnTo>
                  <a:lnTo>
                    <a:pt x="121" y="531"/>
                  </a:lnTo>
                  <a:lnTo>
                    <a:pt x="127" y="545"/>
                  </a:lnTo>
                  <a:lnTo>
                    <a:pt x="137" y="555"/>
                  </a:lnTo>
                  <a:lnTo>
                    <a:pt x="147" y="563"/>
                  </a:lnTo>
                  <a:lnTo>
                    <a:pt x="155" y="571"/>
                  </a:lnTo>
                  <a:lnTo>
                    <a:pt x="161" y="583"/>
                  </a:lnTo>
                  <a:lnTo>
                    <a:pt x="163" y="598"/>
                  </a:lnTo>
                  <a:lnTo>
                    <a:pt x="161" y="616"/>
                  </a:lnTo>
                  <a:lnTo>
                    <a:pt x="153" y="630"/>
                  </a:lnTo>
                  <a:lnTo>
                    <a:pt x="139" y="640"/>
                  </a:lnTo>
                  <a:lnTo>
                    <a:pt x="123" y="644"/>
                  </a:lnTo>
                  <a:lnTo>
                    <a:pt x="103" y="646"/>
                  </a:lnTo>
                  <a:lnTo>
                    <a:pt x="83" y="644"/>
                  </a:lnTo>
                  <a:lnTo>
                    <a:pt x="66" y="638"/>
                  </a:lnTo>
                  <a:lnTo>
                    <a:pt x="48" y="626"/>
                  </a:lnTo>
                  <a:lnTo>
                    <a:pt x="28" y="610"/>
                  </a:lnTo>
                  <a:lnTo>
                    <a:pt x="14" y="587"/>
                  </a:lnTo>
                  <a:lnTo>
                    <a:pt x="4" y="557"/>
                  </a:lnTo>
                  <a:lnTo>
                    <a:pt x="0" y="523"/>
                  </a:lnTo>
                  <a:lnTo>
                    <a:pt x="0" y="59"/>
                  </a:lnTo>
                  <a:lnTo>
                    <a:pt x="4" y="37"/>
                  </a:lnTo>
                  <a:lnTo>
                    <a:pt x="18" y="17"/>
                  </a:lnTo>
                  <a:lnTo>
                    <a:pt x="38" y="6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2"/>
            <p:cNvSpPr>
              <a:spLocks/>
            </p:cNvSpPr>
            <p:nvPr userDrawn="1"/>
          </p:nvSpPr>
          <p:spPr bwMode="black">
            <a:xfrm>
              <a:off x="2062163" y="3798888"/>
              <a:ext cx="458788" cy="525463"/>
            </a:xfrm>
            <a:custGeom>
              <a:avLst/>
              <a:gdLst/>
              <a:ahLst/>
              <a:cxnLst>
                <a:cxn ang="0">
                  <a:pos x="57" y="0"/>
                </a:cxn>
                <a:cxn ang="0">
                  <a:pos x="77" y="2"/>
                </a:cxn>
                <a:cxn ang="0">
                  <a:pos x="95" y="8"/>
                </a:cxn>
                <a:cxn ang="0">
                  <a:pos x="107" y="20"/>
                </a:cxn>
                <a:cxn ang="0">
                  <a:pos x="117" y="35"/>
                </a:cxn>
                <a:cxn ang="0">
                  <a:pos x="289" y="383"/>
                </a:cxn>
                <a:cxn ang="0">
                  <a:pos x="462" y="33"/>
                </a:cxn>
                <a:cxn ang="0">
                  <a:pos x="474" y="16"/>
                </a:cxn>
                <a:cxn ang="0">
                  <a:pos x="488" y="6"/>
                </a:cxn>
                <a:cxn ang="0">
                  <a:pos x="502" y="2"/>
                </a:cxn>
                <a:cxn ang="0">
                  <a:pos x="519" y="0"/>
                </a:cxn>
                <a:cxn ang="0">
                  <a:pos x="541" y="4"/>
                </a:cxn>
                <a:cxn ang="0">
                  <a:pos x="559" y="18"/>
                </a:cxn>
                <a:cxn ang="0">
                  <a:pos x="571" y="35"/>
                </a:cxn>
                <a:cxn ang="0">
                  <a:pos x="577" y="57"/>
                </a:cxn>
                <a:cxn ang="0">
                  <a:pos x="577" y="605"/>
                </a:cxn>
                <a:cxn ang="0">
                  <a:pos x="571" y="626"/>
                </a:cxn>
                <a:cxn ang="0">
                  <a:pos x="559" y="644"/>
                </a:cxn>
                <a:cxn ang="0">
                  <a:pos x="543" y="656"/>
                </a:cxn>
                <a:cxn ang="0">
                  <a:pos x="519" y="662"/>
                </a:cxn>
                <a:cxn ang="0">
                  <a:pos x="498" y="656"/>
                </a:cxn>
                <a:cxn ang="0">
                  <a:pos x="480" y="644"/>
                </a:cxn>
                <a:cxn ang="0">
                  <a:pos x="468" y="626"/>
                </a:cxn>
                <a:cxn ang="0">
                  <a:pos x="464" y="605"/>
                </a:cxn>
                <a:cxn ang="0">
                  <a:pos x="464" y="269"/>
                </a:cxn>
                <a:cxn ang="0">
                  <a:pos x="343" y="520"/>
                </a:cxn>
                <a:cxn ang="0">
                  <a:pos x="329" y="539"/>
                </a:cxn>
                <a:cxn ang="0">
                  <a:pos x="309" y="551"/>
                </a:cxn>
                <a:cxn ang="0">
                  <a:pos x="287" y="555"/>
                </a:cxn>
                <a:cxn ang="0">
                  <a:pos x="266" y="551"/>
                </a:cxn>
                <a:cxn ang="0">
                  <a:pos x="248" y="539"/>
                </a:cxn>
                <a:cxn ang="0">
                  <a:pos x="232" y="520"/>
                </a:cxn>
                <a:cxn ang="0">
                  <a:pos x="111" y="269"/>
                </a:cxn>
                <a:cxn ang="0">
                  <a:pos x="111" y="605"/>
                </a:cxn>
                <a:cxn ang="0">
                  <a:pos x="107" y="626"/>
                </a:cxn>
                <a:cxn ang="0">
                  <a:pos x="95" y="644"/>
                </a:cxn>
                <a:cxn ang="0">
                  <a:pos x="77" y="656"/>
                </a:cxn>
                <a:cxn ang="0">
                  <a:pos x="55" y="662"/>
                </a:cxn>
                <a:cxn ang="0">
                  <a:pos x="34" y="656"/>
                </a:cxn>
                <a:cxn ang="0">
                  <a:pos x="16" y="644"/>
                </a:cxn>
                <a:cxn ang="0">
                  <a:pos x="4" y="626"/>
                </a:cxn>
                <a:cxn ang="0">
                  <a:pos x="0" y="605"/>
                </a:cxn>
                <a:cxn ang="0">
                  <a:pos x="0" y="57"/>
                </a:cxn>
                <a:cxn ang="0">
                  <a:pos x="4" y="33"/>
                </a:cxn>
                <a:cxn ang="0">
                  <a:pos x="18" y="16"/>
                </a:cxn>
                <a:cxn ang="0">
                  <a:pos x="36" y="4"/>
                </a:cxn>
                <a:cxn ang="0">
                  <a:pos x="57" y="0"/>
                </a:cxn>
              </a:cxnLst>
              <a:rect l="0" t="0" r="r" b="b"/>
              <a:pathLst>
                <a:path w="577" h="662">
                  <a:moveTo>
                    <a:pt x="57" y="0"/>
                  </a:moveTo>
                  <a:lnTo>
                    <a:pt x="77" y="2"/>
                  </a:lnTo>
                  <a:lnTo>
                    <a:pt x="95" y="8"/>
                  </a:lnTo>
                  <a:lnTo>
                    <a:pt x="107" y="20"/>
                  </a:lnTo>
                  <a:lnTo>
                    <a:pt x="117" y="35"/>
                  </a:lnTo>
                  <a:lnTo>
                    <a:pt x="289" y="383"/>
                  </a:lnTo>
                  <a:lnTo>
                    <a:pt x="462" y="33"/>
                  </a:lnTo>
                  <a:lnTo>
                    <a:pt x="474" y="16"/>
                  </a:lnTo>
                  <a:lnTo>
                    <a:pt x="488" y="6"/>
                  </a:lnTo>
                  <a:lnTo>
                    <a:pt x="502" y="2"/>
                  </a:lnTo>
                  <a:lnTo>
                    <a:pt x="519" y="0"/>
                  </a:lnTo>
                  <a:lnTo>
                    <a:pt x="541" y="4"/>
                  </a:lnTo>
                  <a:lnTo>
                    <a:pt x="559" y="18"/>
                  </a:lnTo>
                  <a:lnTo>
                    <a:pt x="571" y="35"/>
                  </a:lnTo>
                  <a:lnTo>
                    <a:pt x="577" y="57"/>
                  </a:lnTo>
                  <a:lnTo>
                    <a:pt x="577" y="605"/>
                  </a:lnTo>
                  <a:lnTo>
                    <a:pt x="571" y="626"/>
                  </a:lnTo>
                  <a:lnTo>
                    <a:pt x="559" y="644"/>
                  </a:lnTo>
                  <a:lnTo>
                    <a:pt x="543" y="656"/>
                  </a:lnTo>
                  <a:lnTo>
                    <a:pt x="519" y="662"/>
                  </a:lnTo>
                  <a:lnTo>
                    <a:pt x="498" y="656"/>
                  </a:lnTo>
                  <a:lnTo>
                    <a:pt x="480" y="644"/>
                  </a:lnTo>
                  <a:lnTo>
                    <a:pt x="468" y="626"/>
                  </a:lnTo>
                  <a:lnTo>
                    <a:pt x="464" y="605"/>
                  </a:lnTo>
                  <a:lnTo>
                    <a:pt x="464" y="269"/>
                  </a:lnTo>
                  <a:lnTo>
                    <a:pt x="343" y="520"/>
                  </a:lnTo>
                  <a:lnTo>
                    <a:pt x="329" y="539"/>
                  </a:lnTo>
                  <a:lnTo>
                    <a:pt x="309" y="551"/>
                  </a:lnTo>
                  <a:lnTo>
                    <a:pt x="287" y="555"/>
                  </a:lnTo>
                  <a:lnTo>
                    <a:pt x="266" y="551"/>
                  </a:lnTo>
                  <a:lnTo>
                    <a:pt x="248" y="539"/>
                  </a:lnTo>
                  <a:lnTo>
                    <a:pt x="232" y="520"/>
                  </a:lnTo>
                  <a:lnTo>
                    <a:pt x="111" y="269"/>
                  </a:lnTo>
                  <a:lnTo>
                    <a:pt x="111" y="605"/>
                  </a:lnTo>
                  <a:lnTo>
                    <a:pt x="107" y="626"/>
                  </a:lnTo>
                  <a:lnTo>
                    <a:pt x="95" y="644"/>
                  </a:lnTo>
                  <a:lnTo>
                    <a:pt x="77" y="656"/>
                  </a:lnTo>
                  <a:lnTo>
                    <a:pt x="55" y="662"/>
                  </a:lnTo>
                  <a:lnTo>
                    <a:pt x="34" y="656"/>
                  </a:lnTo>
                  <a:lnTo>
                    <a:pt x="16" y="644"/>
                  </a:lnTo>
                  <a:lnTo>
                    <a:pt x="4" y="626"/>
                  </a:lnTo>
                  <a:lnTo>
                    <a:pt x="0" y="605"/>
                  </a:lnTo>
                  <a:lnTo>
                    <a:pt x="0" y="57"/>
                  </a:lnTo>
                  <a:lnTo>
                    <a:pt x="4" y="33"/>
                  </a:lnTo>
                  <a:lnTo>
                    <a:pt x="18" y="16"/>
                  </a:lnTo>
                  <a:lnTo>
                    <a:pt x="36" y="4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 userDrawn="1"/>
          </p:nvSpPr>
          <p:spPr bwMode="black">
            <a:xfrm>
              <a:off x="2593976" y="3948113"/>
              <a:ext cx="328613" cy="373063"/>
            </a:xfrm>
            <a:custGeom>
              <a:avLst/>
              <a:gdLst/>
              <a:ahLst/>
              <a:cxnLst>
                <a:cxn ang="0">
                  <a:pos x="163" y="280"/>
                </a:cxn>
                <a:cxn ang="0">
                  <a:pos x="129" y="298"/>
                </a:cxn>
                <a:cxn ang="0">
                  <a:pos x="119" y="328"/>
                </a:cxn>
                <a:cxn ang="0">
                  <a:pos x="121" y="351"/>
                </a:cxn>
                <a:cxn ang="0">
                  <a:pos x="141" y="377"/>
                </a:cxn>
                <a:cxn ang="0">
                  <a:pos x="184" y="385"/>
                </a:cxn>
                <a:cxn ang="0">
                  <a:pos x="228" y="375"/>
                </a:cxn>
                <a:cxn ang="0">
                  <a:pos x="252" y="341"/>
                </a:cxn>
                <a:cxn ang="0">
                  <a:pos x="254" y="278"/>
                </a:cxn>
                <a:cxn ang="0">
                  <a:pos x="196" y="0"/>
                </a:cxn>
                <a:cxn ang="0">
                  <a:pos x="280" y="11"/>
                </a:cxn>
                <a:cxn ang="0">
                  <a:pos x="333" y="45"/>
                </a:cxn>
                <a:cxn ang="0">
                  <a:pos x="365" y="104"/>
                </a:cxn>
                <a:cxn ang="0">
                  <a:pos x="375" y="189"/>
                </a:cxn>
                <a:cxn ang="0">
                  <a:pos x="377" y="355"/>
                </a:cxn>
                <a:cxn ang="0">
                  <a:pos x="389" y="379"/>
                </a:cxn>
                <a:cxn ang="0">
                  <a:pos x="406" y="395"/>
                </a:cxn>
                <a:cxn ang="0">
                  <a:pos x="414" y="422"/>
                </a:cxn>
                <a:cxn ang="0">
                  <a:pos x="404" y="454"/>
                </a:cxn>
                <a:cxn ang="0">
                  <a:pos x="375" y="468"/>
                </a:cxn>
                <a:cxn ang="0">
                  <a:pos x="331" y="468"/>
                </a:cxn>
                <a:cxn ang="0">
                  <a:pos x="299" y="452"/>
                </a:cxn>
                <a:cxn ang="0">
                  <a:pos x="282" y="434"/>
                </a:cxn>
                <a:cxn ang="0">
                  <a:pos x="222" y="462"/>
                </a:cxn>
                <a:cxn ang="0">
                  <a:pos x="159" y="470"/>
                </a:cxn>
                <a:cxn ang="0">
                  <a:pos x="81" y="458"/>
                </a:cxn>
                <a:cxn ang="0">
                  <a:pos x="30" y="422"/>
                </a:cxn>
                <a:cxn ang="0">
                  <a:pos x="2" y="367"/>
                </a:cxn>
                <a:cxn ang="0">
                  <a:pos x="0" y="326"/>
                </a:cxn>
                <a:cxn ang="0">
                  <a:pos x="14" y="262"/>
                </a:cxn>
                <a:cxn ang="0">
                  <a:pos x="58" y="219"/>
                </a:cxn>
                <a:cxn ang="0">
                  <a:pos x="131" y="195"/>
                </a:cxn>
                <a:cxn ang="0">
                  <a:pos x="254" y="191"/>
                </a:cxn>
                <a:cxn ang="0">
                  <a:pos x="254" y="152"/>
                </a:cxn>
                <a:cxn ang="0">
                  <a:pos x="242" y="116"/>
                </a:cxn>
                <a:cxn ang="0">
                  <a:pos x="210" y="96"/>
                </a:cxn>
                <a:cxn ang="0">
                  <a:pos x="155" y="96"/>
                </a:cxn>
                <a:cxn ang="0">
                  <a:pos x="107" y="114"/>
                </a:cxn>
                <a:cxn ang="0">
                  <a:pos x="67" y="118"/>
                </a:cxn>
                <a:cxn ang="0">
                  <a:pos x="40" y="96"/>
                </a:cxn>
                <a:cxn ang="0">
                  <a:pos x="32" y="65"/>
                </a:cxn>
                <a:cxn ang="0">
                  <a:pos x="56" y="33"/>
                </a:cxn>
                <a:cxn ang="0">
                  <a:pos x="123" y="7"/>
                </a:cxn>
                <a:cxn ang="0">
                  <a:pos x="196" y="0"/>
                </a:cxn>
              </a:cxnLst>
              <a:rect l="0" t="0" r="r" b="b"/>
              <a:pathLst>
                <a:path w="414" h="470">
                  <a:moveTo>
                    <a:pt x="190" y="278"/>
                  </a:moveTo>
                  <a:lnTo>
                    <a:pt x="163" y="280"/>
                  </a:lnTo>
                  <a:lnTo>
                    <a:pt x="143" y="286"/>
                  </a:lnTo>
                  <a:lnTo>
                    <a:pt x="129" y="298"/>
                  </a:lnTo>
                  <a:lnTo>
                    <a:pt x="121" y="312"/>
                  </a:lnTo>
                  <a:lnTo>
                    <a:pt x="119" y="328"/>
                  </a:lnTo>
                  <a:lnTo>
                    <a:pt x="119" y="334"/>
                  </a:lnTo>
                  <a:lnTo>
                    <a:pt x="121" y="351"/>
                  </a:lnTo>
                  <a:lnTo>
                    <a:pt x="129" y="367"/>
                  </a:lnTo>
                  <a:lnTo>
                    <a:pt x="141" y="377"/>
                  </a:lnTo>
                  <a:lnTo>
                    <a:pt x="161" y="383"/>
                  </a:lnTo>
                  <a:lnTo>
                    <a:pt x="184" y="385"/>
                  </a:lnTo>
                  <a:lnTo>
                    <a:pt x="208" y="383"/>
                  </a:lnTo>
                  <a:lnTo>
                    <a:pt x="228" y="375"/>
                  </a:lnTo>
                  <a:lnTo>
                    <a:pt x="242" y="361"/>
                  </a:lnTo>
                  <a:lnTo>
                    <a:pt x="252" y="341"/>
                  </a:lnTo>
                  <a:lnTo>
                    <a:pt x="254" y="316"/>
                  </a:lnTo>
                  <a:lnTo>
                    <a:pt x="254" y="278"/>
                  </a:lnTo>
                  <a:lnTo>
                    <a:pt x="190" y="278"/>
                  </a:lnTo>
                  <a:close/>
                  <a:moveTo>
                    <a:pt x="196" y="0"/>
                  </a:moveTo>
                  <a:lnTo>
                    <a:pt x="242" y="2"/>
                  </a:lnTo>
                  <a:lnTo>
                    <a:pt x="280" y="11"/>
                  </a:lnTo>
                  <a:lnTo>
                    <a:pt x="309" y="25"/>
                  </a:lnTo>
                  <a:lnTo>
                    <a:pt x="333" y="45"/>
                  </a:lnTo>
                  <a:lnTo>
                    <a:pt x="353" y="71"/>
                  </a:lnTo>
                  <a:lnTo>
                    <a:pt x="365" y="104"/>
                  </a:lnTo>
                  <a:lnTo>
                    <a:pt x="373" y="142"/>
                  </a:lnTo>
                  <a:lnTo>
                    <a:pt x="375" y="189"/>
                  </a:lnTo>
                  <a:lnTo>
                    <a:pt x="375" y="338"/>
                  </a:lnTo>
                  <a:lnTo>
                    <a:pt x="377" y="355"/>
                  </a:lnTo>
                  <a:lnTo>
                    <a:pt x="381" y="369"/>
                  </a:lnTo>
                  <a:lnTo>
                    <a:pt x="389" y="379"/>
                  </a:lnTo>
                  <a:lnTo>
                    <a:pt x="397" y="387"/>
                  </a:lnTo>
                  <a:lnTo>
                    <a:pt x="406" y="395"/>
                  </a:lnTo>
                  <a:lnTo>
                    <a:pt x="412" y="407"/>
                  </a:lnTo>
                  <a:lnTo>
                    <a:pt x="414" y="422"/>
                  </a:lnTo>
                  <a:lnTo>
                    <a:pt x="412" y="440"/>
                  </a:lnTo>
                  <a:lnTo>
                    <a:pt x="404" y="454"/>
                  </a:lnTo>
                  <a:lnTo>
                    <a:pt x="391" y="464"/>
                  </a:lnTo>
                  <a:lnTo>
                    <a:pt x="375" y="468"/>
                  </a:lnTo>
                  <a:lnTo>
                    <a:pt x="353" y="470"/>
                  </a:lnTo>
                  <a:lnTo>
                    <a:pt x="331" y="468"/>
                  </a:lnTo>
                  <a:lnTo>
                    <a:pt x="313" y="460"/>
                  </a:lnTo>
                  <a:lnTo>
                    <a:pt x="299" y="452"/>
                  </a:lnTo>
                  <a:lnTo>
                    <a:pt x="289" y="444"/>
                  </a:lnTo>
                  <a:lnTo>
                    <a:pt x="282" y="434"/>
                  </a:lnTo>
                  <a:lnTo>
                    <a:pt x="254" y="452"/>
                  </a:lnTo>
                  <a:lnTo>
                    <a:pt x="222" y="462"/>
                  </a:lnTo>
                  <a:lnTo>
                    <a:pt x="190" y="468"/>
                  </a:lnTo>
                  <a:lnTo>
                    <a:pt x="159" y="470"/>
                  </a:lnTo>
                  <a:lnTo>
                    <a:pt x="117" y="468"/>
                  </a:lnTo>
                  <a:lnTo>
                    <a:pt x="81" y="458"/>
                  </a:lnTo>
                  <a:lnTo>
                    <a:pt x="52" y="442"/>
                  </a:lnTo>
                  <a:lnTo>
                    <a:pt x="30" y="422"/>
                  </a:lnTo>
                  <a:lnTo>
                    <a:pt x="12" y="397"/>
                  </a:lnTo>
                  <a:lnTo>
                    <a:pt x="2" y="367"/>
                  </a:lnTo>
                  <a:lnTo>
                    <a:pt x="0" y="332"/>
                  </a:lnTo>
                  <a:lnTo>
                    <a:pt x="0" y="326"/>
                  </a:lnTo>
                  <a:lnTo>
                    <a:pt x="4" y="292"/>
                  </a:lnTo>
                  <a:lnTo>
                    <a:pt x="14" y="262"/>
                  </a:lnTo>
                  <a:lnTo>
                    <a:pt x="34" y="239"/>
                  </a:lnTo>
                  <a:lnTo>
                    <a:pt x="58" y="219"/>
                  </a:lnTo>
                  <a:lnTo>
                    <a:pt x="91" y="203"/>
                  </a:lnTo>
                  <a:lnTo>
                    <a:pt x="131" y="195"/>
                  </a:lnTo>
                  <a:lnTo>
                    <a:pt x="174" y="191"/>
                  </a:lnTo>
                  <a:lnTo>
                    <a:pt x="254" y="191"/>
                  </a:lnTo>
                  <a:lnTo>
                    <a:pt x="254" y="175"/>
                  </a:lnTo>
                  <a:lnTo>
                    <a:pt x="254" y="152"/>
                  </a:lnTo>
                  <a:lnTo>
                    <a:pt x="250" y="132"/>
                  </a:lnTo>
                  <a:lnTo>
                    <a:pt x="242" y="116"/>
                  </a:lnTo>
                  <a:lnTo>
                    <a:pt x="228" y="104"/>
                  </a:lnTo>
                  <a:lnTo>
                    <a:pt x="210" y="96"/>
                  </a:lnTo>
                  <a:lnTo>
                    <a:pt x="186" y="94"/>
                  </a:lnTo>
                  <a:lnTo>
                    <a:pt x="155" y="96"/>
                  </a:lnTo>
                  <a:lnTo>
                    <a:pt x="129" y="104"/>
                  </a:lnTo>
                  <a:lnTo>
                    <a:pt x="107" y="114"/>
                  </a:lnTo>
                  <a:lnTo>
                    <a:pt x="85" y="120"/>
                  </a:lnTo>
                  <a:lnTo>
                    <a:pt x="67" y="118"/>
                  </a:lnTo>
                  <a:lnTo>
                    <a:pt x="52" y="110"/>
                  </a:lnTo>
                  <a:lnTo>
                    <a:pt x="40" y="96"/>
                  </a:lnTo>
                  <a:lnTo>
                    <a:pt x="32" y="81"/>
                  </a:lnTo>
                  <a:lnTo>
                    <a:pt x="32" y="65"/>
                  </a:lnTo>
                  <a:lnTo>
                    <a:pt x="40" y="47"/>
                  </a:lnTo>
                  <a:lnTo>
                    <a:pt x="56" y="33"/>
                  </a:lnTo>
                  <a:lnTo>
                    <a:pt x="87" y="17"/>
                  </a:lnTo>
                  <a:lnTo>
                    <a:pt x="123" y="7"/>
                  </a:lnTo>
                  <a:lnTo>
                    <a:pt x="161" y="2"/>
                  </a:lnTo>
                  <a:lnTo>
                    <a:pt x="196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 userDrawn="1"/>
          </p:nvSpPr>
          <p:spPr bwMode="black">
            <a:xfrm>
              <a:off x="2987676" y="3794126"/>
              <a:ext cx="107950" cy="527050"/>
            </a:xfrm>
            <a:custGeom>
              <a:avLst/>
              <a:gdLst/>
              <a:ahLst/>
              <a:cxnLst>
                <a:cxn ang="0">
                  <a:pos x="67" y="194"/>
                </a:cxn>
                <a:cxn ang="0">
                  <a:pos x="91" y="198"/>
                </a:cxn>
                <a:cxn ang="0">
                  <a:pos x="109" y="211"/>
                </a:cxn>
                <a:cxn ang="0">
                  <a:pos x="123" y="231"/>
                </a:cxn>
                <a:cxn ang="0">
                  <a:pos x="126" y="253"/>
                </a:cxn>
                <a:cxn ang="0">
                  <a:pos x="126" y="605"/>
                </a:cxn>
                <a:cxn ang="0">
                  <a:pos x="123" y="628"/>
                </a:cxn>
                <a:cxn ang="0">
                  <a:pos x="109" y="648"/>
                </a:cxn>
                <a:cxn ang="0">
                  <a:pos x="91" y="660"/>
                </a:cxn>
                <a:cxn ang="0">
                  <a:pos x="67" y="664"/>
                </a:cxn>
                <a:cxn ang="0">
                  <a:pos x="43" y="660"/>
                </a:cxn>
                <a:cxn ang="0">
                  <a:pos x="25" y="648"/>
                </a:cxn>
                <a:cxn ang="0">
                  <a:pos x="12" y="628"/>
                </a:cxn>
                <a:cxn ang="0">
                  <a:pos x="8" y="605"/>
                </a:cxn>
                <a:cxn ang="0">
                  <a:pos x="8" y="253"/>
                </a:cxn>
                <a:cxn ang="0">
                  <a:pos x="12" y="231"/>
                </a:cxn>
                <a:cxn ang="0">
                  <a:pos x="25" y="211"/>
                </a:cxn>
                <a:cxn ang="0">
                  <a:pos x="43" y="198"/>
                </a:cxn>
                <a:cxn ang="0">
                  <a:pos x="67" y="194"/>
                </a:cxn>
                <a:cxn ang="0">
                  <a:pos x="67" y="0"/>
                </a:cxn>
                <a:cxn ang="0">
                  <a:pos x="93" y="6"/>
                </a:cxn>
                <a:cxn ang="0">
                  <a:pos x="115" y="20"/>
                </a:cxn>
                <a:cxn ang="0">
                  <a:pos x="128" y="41"/>
                </a:cxn>
                <a:cxn ang="0">
                  <a:pos x="134" y="67"/>
                </a:cxn>
                <a:cxn ang="0">
                  <a:pos x="128" y="93"/>
                </a:cxn>
                <a:cxn ang="0">
                  <a:pos x="115" y="115"/>
                </a:cxn>
                <a:cxn ang="0">
                  <a:pos x="93" y="128"/>
                </a:cxn>
                <a:cxn ang="0">
                  <a:pos x="67" y="134"/>
                </a:cxn>
                <a:cxn ang="0">
                  <a:pos x="41" y="128"/>
                </a:cxn>
                <a:cxn ang="0">
                  <a:pos x="19" y="115"/>
                </a:cxn>
                <a:cxn ang="0">
                  <a:pos x="6" y="93"/>
                </a:cxn>
                <a:cxn ang="0">
                  <a:pos x="0" y="67"/>
                </a:cxn>
                <a:cxn ang="0">
                  <a:pos x="6" y="41"/>
                </a:cxn>
                <a:cxn ang="0">
                  <a:pos x="19" y="20"/>
                </a:cxn>
                <a:cxn ang="0">
                  <a:pos x="41" y="6"/>
                </a:cxn>
                <a:cxn ang="0">
                  <a:pos x="67" y="0"/>
                </a:cxn>
              </a:cxnLst>
              <a:rect l="0" t="0" r="r" b="b"/>
              <a:pathLst>
                <a:path w="134" h="664">
                  <a:moveTo>
                    <a:pt x="67" y="194"/>
                  </a:moveTo>
                  <a:lnTo>
                    <a:pt x="91" y="198"/>
                  </a:lnTo>
                  <a:lnTo>
                    <a:pt x="109" y="211"/>
                  </a:lnTo>
                  <a:lnTo>
                    <a:pt x="123" y="231"/>
                  </a:lnTo>
                  <a:lnTo>
                    <a:pt x="126" y="253"/>
                  </a:lnTo>
                  <a:lnTo>
                    <a:pt x="126" y="605"/>
                  </a:lnTo>
                  <a:lnTo>
                    <a:pt x="123" y="628"/>
                  </a:lnTo>
                  <a:lnTo>
                    <a:pt x="109" y="648"/>
                  </a:lnTo>
                  <a:lnTo>
                    <a:pt x="91" y="660"/>
                  </a:lnTo>
                  <a:lnTo>
                    <a:pt x="67" y="664"/>
                  </a:lnTo>
                  <a:lnTo>
                    <a:pt x="43" y="660"/>
                  </a:lnTo>
                  <a:lnTo>
                    <a:pt x="25" y="648"/>
                  </a:lnTo>
                  <a:lnTo>
                    <a:pt x="12" y="628"/>
                  </a:lnTo>
                  <a:lnTo>
                    <a:pt x="8" y="605"/>
                  </a:lnTo>
                  <a:lnTo>
                    <a:pt x="8" y="253"/>
                  </a:lnTo>
                  <a:lnTo>
                    <a:pt x="12" y="231"/>
                  </a:lnTo>
                  <a:lnTo>
                    <a:pt x="25" y="211"/>
                  </a:lnTo>
                  <a:lnTo>
                    <a:pt x="43" y="198"/>
                  </a:lnTo>
                  <a:lnTo>
                    <a:pt x="67" y="194"/>
                  </a:lnTo>
                  <a:close/>
                  <a:moveTo>
                    <a:pt x="67" y="0"/>
                  </a:moveTo>
                  <a:lnTo>
                    <a:pt x="93" y="6"/>
                  </a:lnTo>
                  <a:lnTo>
                    <a:pt x="115" y="20"/>
                  </a:lnTo>
                  <a:lnTo>
                    <a:pt x="128" y="41"/>
                  </a:lnTo>
                  <a:lnTo>
                    <a:pt x="134" y="67"/>
                  </a:lnTo>
                  <a:lnTo>
                    <a:pt x="128" y="93"/>
                  </a:lnTo>
                  <a:lnTo>
                    <a:pt x="115" y="115"/>
                  </a:lnTo>
                  <a:lnTo>
                    <a:pt x="93" y="128"/>
                  </a:lnTo>
                  <a:lnTo>
                    <a:pt x="67" y="134"/>
                  </a:lnTo>
                  <a:lnTo>
                    <a:pt x="41" y="128"/>
                  </a:lnTo>
                  <a:lnTo>
                    <a:pt x="19" y="115"/>
                  </a:lnTo>
                  <a:lnTo>
                    <a:pt x="6" y="93"/>
                  </a:lnTo>
                  <a:lnTo>
                    <a:pt x="0" y="67"/>
                  </a:lnTo>
                  <a:lnTo>
                    <a:pt x="6" y="41"/>
                  </a:lnTo>
                  <a:lnTo>
                    <a:pt x="19" y="20"/>
                  </a:lnTo>
                  <a:lnTo>
                    <a:pt x="41" y="6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black">
            <a:xfrm>
              <a:off x="3190876" y="3808413"/>
              <a:ext cx="128588" cy="512763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84" y="6"/>
                </a:cxn>
                <a:cxn ang="0">
                  <a:pos x="101" y="17"/>
                </a:cxn>
                <a:cxn ang="0">
                  <a:pos x="115" y="37"/>
                </a:cxn>
                <a:cxn ang="0">
                  <a:pos x="119" y="59"/>
                </a:cxn>
                <a:cxn ang="0">
                  <a:pos x="119" y="514"/>
                </a:cxn>
                <a:cxn ang="0">
                  <a:pos x="121" y="531"/>
                </a:cxn>
                <a:cxn ang="0">
                  <a:pos x="127" y="545"/>
                </a:cxn>
                <a:cxn ang="0">
                  <a:pos x="137" y="555"/>
                </a:cxn>
                <a:cxn ang="0">
                  <a:pos x="147" y="563"/>
                </a:cxn>
                <a:cxn ang="0">
                  <a:pos x="155" y="571"/>
                </a:cxn>
                <a:cxn ang="0">
                  <a:pos x="161" y="583"/>
                </a:cxn>
                <a:cxn ang="0">
                  <a:pos x="163" y="598"/>
                </a:cxn>
                <a:cxn ang="0">
                  <a:pos x="161" y="616"/>
                </a:cxn>
                <a:cxn ang="0">
                  <a:pos x="153" y="630"/>
                </a:cxn>
                <a:cxn ang="0">
                  <a:pos x="139" y="640"/>
                </a:cxn>
                <a:cxn ang="0">
                  <a:pos x="123" y="644"/>
                </a:cxn>
                <a:cxn ang="0">
                  <a:pos x="103" y="646"/>
                </a:cxn>
                <a:cxn ang="0">
                  <a:pos x="84" y="644"/>
                </a:cxn>
                <a:cxn ang="0">
                  <a:pos x="66" y="638"/>
                </a:cxn>
                <a:cxn ang="0">
                  <a:pos x="48" y="626"/>
                </a:cxn>
                <a:cxn ang="0">
                  <a:pos x="28" y="610"/>
                </a:cxn>
                <a:cxn ang="0">
                  <a:pos x="14" y="587"/>
                </a:cxn>
                <a:cxn ang="0">
                  <a:pos x="4" y="557"/>
                </a:cxn>
                <a:cxn ang="0">
                  <a:pos x="0" y="523"/>
                </a:cxn>
                <a:cxn ang="0">
                  <a:pos x="0" y="59"/>
                </a:cxn>
                <a:cxn ang="0">
                  <a:pos x="4" y="37"/>
                </a:cxn>
                <a:cxn ang="0">
                  <a:pos x="18" y="17"/>
                </a:cxn>
                <a:cxn ang="0">
                  <a:pos x="36" y="6"/>
                </a:cxn>
                <a:cxn ang="0">
                  <a:pos x="60" y="0"/>
                </a:cxn>
              </a:cxnLst>
              <a:rect l="0" t="0" r="r" b="b"/>
              <a:pathLst>
                <a:path w="163" h="646">
                  <a:moveTo>
                    <a:pt x="60" y="0"/>
                  </a:moveTo>
                  <a:lnTo>
                    <a:pt x="84" y="6"/>
                  </a:lnTo>
                  <a:lnTo>
                    <a:pt x="101" y="17"/>
                  </a:lnTo>
                  <a:lnTo>
                    <a:pt x="115" y="37"/>
                  </a:lnTo>
                  <a:lnTo>
                    <a:pt x="119" y="59"/>
                  </a:lnTo>
                  <a:lnTo>
                    <a:pt x="119" y="514"/>
                  </a:lnTo>
                  <a:lnTo>
                    <a:pt x="121" y="531"/>
                  </a:lnTo>
                  <a:lnTo>
                    <a:pt x="127" y="545"/>
                  </a:lnTo>
                  <a:lnTo>
                    <a:pt x="137" y="555"/>
                  </a:lnTo>
                  <a:lnTo>
                    <a:pt x="147" y="563"/>
                  </a:lnTo>
                  <a:lnTo>
                    <a:pt x="155" y="571"/>
                  </a:lnTo>
                  <a:lnTo>
                    <a:pt x="161" y="583"/>
                  </a:lnTo>
                  <a:lnTo>
                    <a:pt x="163" y="598"/>
                  </a:lnTo>
                  <a:lnTo>
                    <a:pt x="161" y="616"/>
                  </a:lnTo>
                  <a:lnTo>
                    <a:pt x="153" y="630"/>
                  </a:lnTo>
                  <a:lnTo>
                    <a:pt x="139" y="640"/>
                  </a:lnTo>
                  <a:lnTo>
                    <a:pt x="123" y="644"/>
                  </a:lnTo>
                  <a:lnTo>
                    <a:pt x="103" y="646"/>
                  </a:lnTo>
                  <a:lnTo>
                    <a:pt x="84" y="644"/>
                  </a:lnTo>
                  <a:lnTo>
                    <a:pt x="66" y="638"/>
                  </a:lnTo>
                  <a:lnTo>
                    <a:pt x="48" y="626"/>
                  </a:lnTo>
                  <a:lnTo>
                    <a:pt x="28" y="610"/>
                  </a:lnTo>
                  <a:lnTo>
                    <a:pt x="14" y="587"/>
                  </a:lnTo>
                  <a:lnTo>
                    <a:pt x="4" y="557"/>
                  </a:lnTo>
                  <a:lnTo>
                    <a:pt x="0" y="523"/>
                  </a:lnTo>
                  <a:lnTo>
                    <a:pt x="0" y="59"/>
                  </a:lnTo>
                  <a:lnTo>
                    <a:pt x="4" y="37"/>
                  </a:lnTo>
                  <a:lnTo>
                    <a:pt x="18" y="17"/>
                  </a:lnTo>
                  <a:lnTo>
                    <a:pt x="36" y="6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 userDrawn="1"/>
          </p:nvSpPr>
          <p:spPr bwMode="black">
            <a:xfrm>
              <a:off x="3546476" y="3798888"/>
              <a:ext cx="360363" cy="525463"/>
            </a:xfrm>
            <a:custGeom>
              <a:avLst/>
              <a:gdLst/>
              <a:ahLst/>
              <a:cxnLst>
                <a:cxn ang="0">
                  <a:pos x="278" y="2"/>
                </a:cxn>
                <a:cxn ang="0">
                  <a:pos x="351" y="24"/>
                </a:cxn>
                <a:cxn ang="0">
                  <a:pos x="395" y="57"/>
                </a:cxn>
                <a:cxn ang="0">
                  <a:pos x="407" y="89"/>
                </a:cxn>
                <a:cxn ang="0">
                  <a:pos x="397" y="118"/>
                </a:cxn>
                <a:cxn ang="0">
                  <a:pos x="371" y="138"/>
                </a:cxn>
                <a:cxn ang="0">
                  <a:pos x="329" y="138"/>
                </a:cxn>
                <a:cxn ang="0">
                  <a:pos x="290" y="118"/>
                </a:cxn>
                <a:cxn ang="0">
                  <a:pos x="240" y="111"/>
                </a:cxn>
                <a:cxn ang="0">
                  <a:pos x="183" y="122"/>
                </a:cxn>
                <a:cxn ang="0">
                  <a:pos x="143" y="164"/>
                </a:cxn>
                <a:cxn ang="0">
                  <a:pos x="125" y="235"/>
                </a:cxn>
                <a:cxn ang="0">
                  <a:pos x="121" y="379"/>
                </a:cxn>
                <a:cxn ang="0">
                  <a:pos x="131" y="470"/>
                </a:cxn>
                <a:cxn ang="0">
                  <a:pos x="161" y="524"/>
                </a:cxn>
                <a:cxn ang="0">
                  <a:pos x="207" y="549"/>
                </a:cxn>
                <a:cxn ang="0">
                  <a:pos x="266" y="549"/>
                </a:cxn>
                <a:cxn ang="0">
                  <a:pos x="308" y="527"/>
                </a:cxn>
                <a:cxn ang="0">
                  <a:pos x="329" y="492"/>
                </a:cxn>
                <a:cxn ang="0">
                  <a:pos x="335" y="443"/>
                </a:cxn>
                <a:cxn ang="0">
                  <a:pos x="276" y="415"/>
                </a:cxn>
                <a:cxn ang="0">
                  <a:pos x="236" y="397"/>
                </a:cxn>
                <a:cxn ang="0">
                  <a:pos x="220" y="358"/>
                </a:cxn>
                <a:cxn ang="0">
                  <a:pos x="236" y="318"/>
                </a:cxn>
                <a:cxn ang="0">
                  <a:pos x="276" y="300"/>
                </a:cxn>
                <a:cxn ang="0">
                  <a:pos x="419" y="306"/>
                </a:cxn>
                <a:cxn ang="0">
                  <a:pos x="448" y="338"/>
                </a:cxn>
                <a:cxn ang="0">
                  <a:pos x="454" y="439"/>
                </a:cxn>
                <a:cxn ang="0">
                  <a:pos x="444" y="514"/>
                </a:cxn>
                <a:cxn ang="0">
                  <a:pos x="415" y="579"/>
                </a:cxn>
                <a:cxn ang="0">
                  <a:pos x="363" y="628"/>
                </a:cxn>
                <a:cxn ang="0">
                  <a:pos x="286" y="658"/>
                </a:cxn>
                <a:cxn ang="0">
                  <a:pos x="187" y="658"/>
                </a:cxn>
                <a:cxn ang="0">
                  <a:pos x="109" y="632"/>
                </a:cxn>
                <a:cxn ang="0">
                  <a:pos x="54" y="583"/>
                </a:cxn>
                <a:cxn ang="0">
                  <a:pos x="20" y="514"/>
                </a:cxn>
                <a:cxn ang="0">
                  <a:pos x="2" y="429"/>
                </a:cxn>
                <a:cxn ang="0">
                  <a:pos x="0" y="280"/>
                </a:cxn>
                <a:cxn ang="0">
                  <a:pos x="8" y="190"/>
                </a:cxn>
                <a:cxn ang="0">
                  <a:pos x="34" y="112"/>
                </a:cxn>
                <a:cxn ang="0">
                  <a:pos x="80" y="53"/>
                </a:cxn>
                <a:cxn ang="0">
                  <a:pos x="147" y="14"/>
                </a:cxn>
                <a:cxn ang="0">
                  <a:pos x="240" y="0"/>
                </a:cxn>
              </a:cxnLst>
              <a:rect l="0" t="0" r="r" b="b"/>
              <a:pathLst>
                <a:path w="454" h="662">
                  <a:moveTo>
                    <a:pt x="240" y="0"/>
                  </a:moveTo>
                  <a:lnTo>
                    <a:pt x="278" y="2"/>
                  </a:lnTo>
                  <a:lnTo>
                    <a:pt x="316" y="10"/>
                  </a:lnTo>
                  <a:lnTo>
                    <a:pt x="351" y="24"/>
                  </a:lnTo>
                  <a:lnTo>
                    <a:pt x="379" y="43"/>
                  </a:lnTo>
                  <a:lnTo>
                    <a:pt x="395" y="57"/>
                  </a:lnTo>
                  <a:lnTo>
                    <a:pt x="403" y="73"/>
                  </a:lnTo>
                  <a:lnTo>
                    <a:pt x="407" y="89"/>
                  </a:lnTo>
                  <a:lnTo>
                    <a:pt x="405" y="105"/>
                  </a:lnTo>
                  <a:lnTo>
                    <a:pt x="397" y="118"/>
                  </a:lnTo>
                  <a:lnTo>
                    <a:pt x="387" y="130"/>
                  </a:lnTo>
                  <a:lnTo>
                    <a:pt x="371" y="138"/>
                  </a:lnTo>
                  <a:lnTo>
                    <a:pt x="351" y="142"/>
                  </a:lnTo>
                  <a:lnTo>
                    <a:pt x="329" y="138"/>
                  </a:lnTo>
                  <a:lnTo>
                    <a:pt x="310" y="128"/>
                  </a:lnTo>
                  <a:lnTo>
                    <a:pt x="290" y="118"/>
                  </a:lnTo>
                  <a:lnTo>
                    <a:pt x="266" y="112"/>
                  </a:lnTo>
                  <a:lnTo>
                    <a:pt x="240" y="111"/>
                  </a:lnTo>
                  <a:lnTo>
                    <a:pt x="209" y="112"/>
                  </a:lnTo>
                  <a:lnTo>
                    <a:pt x="183" y="122"/>
                  </a:lnTo>
                  <a:lnTo>
                    <a:pt x="161" y="140"/>
                  </a:lnTo>
                  <a:lnTo>
                    <a:pt x="143" y="164"/>
                  </a:lnTo>
                  <a:lnTo>
                    <a:pt x="131" y="195"/>
                  </a:lnTo>
                  <a:lnTo>
                    <a:pt x="125" y="235"/>
                  </a:lnTo>
                  <a:lnTo>
                    <a:pt x="121" y="284"/>
                  </a:lnTo>
                  <a:lnTo>
                    <a:pt x="121" y="379"/>
                  </a:lnTo>
                  <a:lnTo>
                    <a:pt x="125" y="429"/>
                  </a:lnTo>
                  <a:lnTo>
                    <a:pt x="131" y="470"/>
                  </a:lnTo>
                  <a:lnTo>
                    <a:pt x="143" y="502"/>
                  </a:lnTo>
                  <a:lnTo>
                    <a:pt x="161" y="524"/>
                  </a:lnTo>
                  <a:lnTo>
                    <a:pt x="181" y="539"/>
                  </a:lnTo>
                  <a:lnTo>
                    <a:pt x="207" y="549"/>
                  </a:lnTo>
                  <a:lnTo>
                    <a:pt x="234" y="551"/>
                  </a:lnTo>
                  <a:lnTo>
                    <a:pt x="266" y="549"/>
                  </a:lnTo>
                  <a:lnTo>
                    <a:pt x="290" y="541"/>
                  </a:lnTo>
                  <a:lnTo>
                    <a:pt x="308" y="527"/>
                  </a:lnTo>
                  <a:lnTo>
                    <a:pt x="322" y="512"/>
                  </a:lnTo>
                  <a:lnTo>
                    <a:pt x="329" y="492"/>
                  </a:lnTo>
                  <a:lnTo>
                    <a:pt x="333" y="468"/>
                  </a:lnTo>
                  <a:lnTo>
                    <a:pt x="335" y="443"/>
                  </a:lnTo>
                  <a:lnTo>
                    <a:pt x="335" y="415"/>
                  </a:lnTo>
                  <a:lnTo>
                    <a:pt x="276" y="415"/>
                  </a:lnTo>
                  <a:lnTo>
                    <a:pt x="254" y="409"/>
                  </a:lnTo>
                  <a:lnTo>
                    <a:pt x="236" y="397"/>
                  </a:lnTo>
                  <a:lnTo>
                    <a:pt x="224" y="379"/>
                  </a:lnTo>
                  <a:lnTo>
                    <a:pt x="220" y="358"/>
                  </a:lnTo>
                  <a:lnTo>
                    <a:pt x="224" y="336"/>
                  </a:lnTo>
                  <a:lnTo>
                    <a:pt x="236" y="318"/>
                  </a:lnTo>
                  <a:lnTo>
                    <a:pt x="254" y="306"/>
                  </a:lnTo>
                  <a:lnTo>
                    <a:pt x="276" y="300"/>
                  </a:lnTo>
                  <a:lnTo>
                    <a:pt x="395" y="300"/>
                  </a:lnTo>
                  <a:lnTo>
                    <a:pt x="419" y="306"/>
                  </a:lnTo>
                  <a:lnTo>
                    <a:pt x="437" y="318"/>
                  </a:lnTo>
                  <a:lnTo>
                    <a:pt x="448" y="338"/>
                  </a:lnTo>
                  <a:lnTo>
                    <a:pt x="454" y="361"/>
                  </a:lnTo>
                  <a:lnTo>
                    <a:pt x="454" y="439"/>
                  </a:lnTo>
                  <a:lnTo>
                    <a:pt x="450" y="476"/>
                  </a:lnTo>
                  <a:lnTo>
                    <a:pt x="444" y="514"/>
                  </a:lnTo>
                  <a:lnTo>
                    <a:pt x="433" y="547"/>
                  </a:lnTo>
                  <a:lnTo>
                    <a:pt x="415" y="579"/>
                  </a:lnTo>
                  <a:lnTo>
                    <a:pt x="393" y="607"/>
                  </a:lnTo>
                  <a:lnTo>
                    <a:pt x="363" y="628"/>
                  </a:lnTo>
                  <a:lnTo>
                    <a:pt x="327" y="646"/>
                  </a:lnTo>
                  <a:lnTo>
                    <a:pt x="286" y="658"/>
                  </a:lnTo>
                  <a:lnTo>
                    <a:pt x="234" y="662"/>
                  </a:lnTo>
                  <a:lnTo>
                    <a:pt x="187" y="658"/>
                  </a:lnTo>
                  <a:lnTo>
                    <a:pt x="145" y="648"/>
                  </a:lnTo>
                  <a:lnTo>
                    <a:pt x="109" y="632"/>
                  </a:lnTo>
                  <a:lnTo>
                    <a:pt x="80" y="610"/>
                  </a:lnTo>
                  <a:lnTo>
                    <a:pt x="54" y="583"/>
                  </a:lnTo>
                  <a:lnTo>
                    <a:pt x="34" y="551"/>
                  </a:lnTo>
                  <a:lnTo>
                    <a:pt x="20" y="514"/>
                  </a:lnTo>
                  <a:lnTo>
                    <a:pt x="8" y="474"/>
                  </a:lnTo>
                  <a:lnTo>
                    <a:pt x="2" y="429"/>
                  </a:lnTo>
                  <a:lnTo>
                    <a:pt x="0" y="381"/>
                  </a:lnTo>
                  <a:lnTo>
                    <a:pt x="0" y="280"/>
                  </a:lnTo>
                  <a:lnTo>
                    <a:pt x="2" y="233"/>
                  </a:lnTo>
                  <a:lnTo>
                    <a:pt x="8" y="190"/>
                  </a:lnTo>
                  <a:lnTo>
                    <a:pt x="20" y="150"/>
                  </a:lnTo>
                  <a:lnTo>
                    <a:pt x="34" y="112"/>
                  </a:lnTo>
                  <a:lnTo>
                    <a:pt x="54" y="81"/>
                  </a:lnTo>
                  <a:lnTo>
                    <a:pt x="80" y="53"/>
                  </a:lnTo>
                  <a:lnTo>
                    <a:pt x="111" y="29"/>
                  </a:lnTo>
                  <a:lnTo>
                    <a:pt x="147" y="14"/>
                  </a:lnTo>
                  <a:lnTo>
                    <a:pt x="191" y="4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7"/>
            <p:cNvSpPr>
              <a:spLocks/>
            </p:cNvSpPr>
            <p:nvPr userDrawn="1"/>
          </p:nvSpPr>
          <p:spPr bwMode="black">
            <a:xfrm>
              <a:off x="3968751" y="3948113"/>
              <a:ext cx="273050" cy="373063"/>
            </a:xfrm>
            <a:custGeom>
              <a:avLst/>
              <a:gdLst/>
              <a:ahLst/>
              <a:cxnLst>
                <a:cxn ang="0">
                  <a:pos x="265" y="0"/>
                </a:cxn>
                <a:cxn ang="0">
                  <a:pos x="287" y="2"/>
                </a:cxn>
                <a:cxn ang="0">
                  <a:pos x="305" y="7"/>
                </a:cxn>
                <a:cxn ang="0">
                  <a:pos x="321" y="13"/>
                </a:cxn>
                <a:cxn ang="0">
                  <a:pos x="335" y="27"/>
                </a:cxn>
                <a:cxn ang="0">
                  <a:pos x="343" y="41"/>
                </a:cxn>
                <a:cxn ang="0">
                  <a:pos x="345" y="59"/>
                </a:cxn>
                <a:cxn ang="0">
                  <a:pos x="341" y="77"/>
                </a:cxn>
                <a:cxn ang="0">
                  <a:pos x="333" y="96"/>
                </a:cxn>
                <a:cxn ang="0">
                  <a:pos x="319" y="110"/>
                </a:cxn>
                <a:cxn ang="0">
                  <a:pos x="299" y="118"/>
                </a:cxn>
                <a:cxn ang="0">
                  <a:pos x="275" y="118"/>
                </a:cxn>
                <a:cxn ang="0">
                  <a:pos x="267" y="116"/>
                </a:cxn>
                <a:cxn ang="0">
                  <a:pos x="255" y="114"/>
                </a:cxn>
                <a:cxn ang="0">
                  <a:pos x="238" y="114"/>
                </a:cxn>
                <a:cxn ang="0">
                  <a:pos x="218" y="116"/>
                </a:cxn>
                <a:cxn ang="0">
                  <a:pos x="198" y="122"/>
                </a:cxn>
                <a:cxn ang="0">
                  <a:pos x="182" y="132"/>
                </a:cxn>
                <a:cxn ang="0">
                  <a:pos x="170" y="146"/>
                </a:cxn>
                <a:cxn ang="0">
                  <a:pos x="162" y="166"/>
                </a:cxn>
                <a:cxn ang="0">
                  <a:pos x="162" y="411"/>
                </a:cxn>
                <a:cxn ang="0">
                  <a:pos x="156" y="434"/>
                </a:cxn>
                <a:cxn ang="0">
                  <a:pos x="144" y="454"/>
                </a:cxn>
                <a:cxn ang="0">
                  <a:pos x="125" y="466"/>
                </a:cxn>
                <a:cxn ang="0">
                  <a:pos x="103" y="470"/>
                </a:cxn>
                <a:cxn ang="0">
                  <a:pos x="79" y="466"/>
                </a:cxn>
                <a:cxn ang="0">
                  <a:pos x="59" y="454"/>
                </a:cxn>
                <a:cxn ang="0">
                  <a:pos x="45" y="434"/>
                </a:cxn>
                <a:cxn ang="0">
                  <a:pos x="41" y="411"/>
                </a:cxn>
                <a:cxn ang="0">
                  <a:pos x="41" y="140"/>
                </a:cxn>
                <a:cxn ang="0">
                  <a:pos x="39" y="120"/>
                </a:cxn>
                <a:cxn ang="0">
                  <a:pos x="33" y="108"/>
                </a:cxn>
                <a:cxn ang="0">
                  <a:pos x="25" y="98"/>
                </a:cxn>
                <a:cxn ang="0">
                  <a:pos x="16" y="89"/>
                </a:cxn>
                <a:cxn ang="0">
                  <a:pos x="8" y="81"/>
                </a:cxn>
                <a:cxn ang="0">
                  <a:pos x="2" y="69"/>
                </a:cxn>
                <a:cxn ang="0">
                  <a:pos x="0" y="55"/>
                </a:cxn>
                <a:cxn ang="0">
                  <a:pos x="2" y="37"/>
                </a:cxn>
                <a:cxn ang="0">
                  <a:pos x="10" y="23"/>
                </a:cxn>
                <a:cxn ang="0">
                  <a:pos x="21" y="13"/>
                </a:cxn>
                <a:cxn ang="0">
                  <a:pos x="37" y="7"/>
                </a:cxn>
                <a:cxn ang="0">
                  <a:pos x="59" y="6"/>
                </a:cxn>
                <a:cxn ang="0">
                  <a:pos x="65" y="6"/>
                </a:cxn>
                <a:cxn ang="0">
                  <a:pos x="71" y="6"/>
                </a:cxn>
                <a:cxn ang="0">
                  <a:pos x="77" y="7"/>
                </a:cxn>
                <a:cxn ang="0">
                  <a:pos x="105" y="19"/>
                </a:cxn>
                <a:cxn ang="0">
                  <a:pos x="127" y="35"/>
                </a:cxn>
                <a:cxn ang="0">
                  <a:pos x="142" y="57"/>
                </a:cxn>
                <a:cxn ang="0">
                  <a:pos x="168" y="31"/>
                </a:cxn>
                <a:cxn ang="0">
                  <a:pos x="194" y="15"/>
                </a:cxn>
                <a:cxn ang="0">
                  <a:pos x="222" y="6"/>
                </a:cxn>
                <a:cxn ang="0">
                  <a:pos x="245" y="2"/>
                </a:cxn>
                <a:cxn ang="0">
                  <a:pos x="265" y="0"/>
                </a:cxn>
              </a:cxnLst>
              <a:rect l="0" t="0" r="r" b="b"/>
              <a:pathLst>
                <a:path w="345" h="470">
                  <a:moveTo>
                    <a:pt x="265" y="0"/>
                  </a:moveTo>
                  <a:lnTo>
                    <a:pt x="287" y="2"/>
                  </a:lnTo>
                  <a:lnTo>
                    <a:pt x="305" y="7"/>
                  </a:lnTo>
                  <a:lnTo>
                    <a:pt x="321" y="13"/>
                  </a:lnTo>
                  <a:lnTo>
                    <a:pt x="335" y="27"/>
                  </a:lnTo>
                  <a:lnTo>
                    <a:pt x="343" y="41"/>
                  </a:lnTo>
                  <a:lnTo>
                    <a:pt x="345" y="59"/>
                  </a:lnTo>
                  <a:lnTo>
                    <a:pt x="341" y="77"/>
                  </a:lnTo>
                  <a:lnTo>
                    <a:pt x="333" y="96"/>
                  </a:lnTo>
                  <a:lnTo>
                    <a:pt x="319" y="110"/>
                  </a:lnTo>
                  <a:lnTo>
                    <a:pt x="299" y="118"/>
                  </a:lnTo>
                  <a:lnTo>
                    <a:pt x="275" y="118"/>
                  </a:lnTo>
                  <a:lnTo>
                    <a:pt x="267" y="116"/>
                  </a:lnTo>
                  <a:lnTo>
                    <a:pt x="255" y="114"/>
                  </a:lnTo>
                  <a:lnTo>
                    <a:pt x="238" y="114"/>
                  </a:lnTo>
                  <a:lnTo>
                    <a:pt x="218" y="116"/>
                  </a:lnTo>
                  <a:lnTo>
                    <a:pt x="198" y="122"/>
                  </a:lnTo>
                  <a:lnTo>
                    <a:pt x="182" y="132"/>
                  </a:lnTo>
                  <a:lnTo>
                    <a:pt x="170" y="146"/>
                  </a:lnTo>
                  <a:lnTo>
                    <a:pt x="162" y="166"/>
                  </a:lnTo>
                  <a:lnTo>
                    <a:pt x="162" y="411"/>
                  </a:lnTo>
                  <a:lnTo>
                    <a:pt x="156" y="434"/>
                  </a:lnTo>
                  <a:lnTo>
                    <a:pt x="144" y="454"/>
                  </a:lnTo>
                  <a:lnTo>
                    <a:pt x="125" y="466"/>
                  </a:lnTo>
                  <a:lnTo>
                    <a:pt x="103" y="470"/>
                  </a:lnTo>
                  <a:lnTo>
                    <a:pt x="79" y="466"/>
                  </a:lnTo>
                  <a:lnTo>
                    <a:pt x="59" y="454"/>
                  </a:lnTo>
                  <a:lnTo>
                    <a:pt x="45" y="434"/>
                  </a:lnTo>
                  <a:lnTo>
                    <a:pt x="41" y="411"/>
                  </a:lnTo>
                  <a:lnTo>
                    <a:pt x="41" y="140"/>
                  </a:lnTo>
                  <a:lnTo>
                    <a:pt x="39" y="120"/>
                  </a:lnTo>
                  <a:lnTo>
                    <a:pt x="33" y="108"/>
                  </a:lnTo>
                  <a:lnTo>
                    <a:pt x="25" y="98"/>
                  </a:lnTo>
                  <a:lnTo>
                    <a:pt x="16" y="89"/>
                  </a:lnTo>
                  <a:lnTo>
                    <a:pt x="8" y="81"/>
                  </a:lnTo>
                  <a:lnTo>
                    <a:pt x="2" y="69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3"/>
                  </a:lnTo>
                  <a:lnTo>
                    <a:pt x="21" y="13"/>
                  </a:lnTo>
                  <a:lnTo>
                    <a:pt x="37" y="7"/>
                  </a:lnTo>
                  <a:lnTo>
                    <a:pt x="59" y="6"/>
                  </a:lnTo>
                  <a:lnTo>
                    <a:pt x="65" y="6"/>
                  </a:lnTo>
                  <a:lnTo>
                    <a:pt x="71" y="6"/>
                  </a:lnTo>
                  <a:lnTo>
                    <a:pt x="77" y="7"/>
                  </a:lnTo>
                  <a:lnTo>
                    <a:pt x="105" y="19"/>
                  </a:lnTo>
                  <a:lnTo>
                    <a:pt x="127" y="35"/>
                  </a:lnTo>
                  <a:lnTo>
                    <a:pt x="142" y="57"/>
                  </a:lnTo>
                  <a:lnTo>
                    <a:pt x="168" y="31"/>
                  </a:lnTo>
                  <a:lnTo>
                    <a:pt x="194" y="15"/>
                  </a:lnTo>
                  <a:lnTo>
                    <a:pt x="222" y="6"/>
                  </a:lnTo>
                  <a:lnTo>
                    <a:pt x="245" y="2"/>
                  </a:lnTo>
                  <a:lnTo>
                    <a:pt x="265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8"/>
            <p:cNvSpPr>
              <a:spLocks noEditPoints="1"/>
            </p:cNvSpPr>
            <p:nvPr userDrawn="1"/>
          </p:nvSpPr>
          <p:spPr bwMode="black">
            <a:xfrm>
              <a:off x="4268788" y="3948113"/>
              <a:ext cx="301625" cy="373063"/>
            </a:xfrm>
            <a:custGeom>
              <a:avLst/>
              <a:gdLst/>
              <a:ahLst/>
              <a:cxnLst>
                <a:cxn ang="0">
                  <a:pos x="191" y="108"/>
                </a:cxn>
                <a:cxn ang="0">
                  <a:pos x="165" y="110"/>
                </a:cxn>
                <a:cxn ang="0">
                  <a:pos x="145" y="122"/>
                </a:cxn>
                <a:cxn ang="0">
                  <a:pos x="131" y="138"/>
                </a:cxn>
                <a:cxn ang="0">
                  <a:pos x="123" y="160"/>
                </a:cxn>
                <a:cxn ang="0">
                  <a:pos x="119" y="189"/>
                </a:cxn>
                <a:cxn ang="0">
                  <a:pos x="119" y="282"/>
                </a:cxn>
                <a:cxn ang="0">
                  <a:pos x="123" y="310"/>
                </a:cxn>
                <a:cxn ang="0">
                  <a:pos x="131" y="334"/>
                </a:cxn>
                <a:cxn ang="0">
                  <a:pos x="145" y="349"/>
                </a:cxn>
                <a:cxn ang="0">
                  <a:pos x="165" y="359"/>
                </a:cxn>
                <a:cxn ang="0">
                  <a:pos x="191" y="363"/>
                </a:cxn>
                <a:cxn ang="0">
                  <a:pos x="216" y="359"/>
                </a:cxn>
                <a:cxn ang="0">
                  <a:pos x="236" y="349"/>
                </a:cxn>
                <a:cxn ang="0">
                  <a:pos x="250" y="334"/>
                </a:cxn>
                <a:cxn ang="0">
                  <a:pos x="258" y="310"/>
                </a:cxn>
                <a:cxn ang="0">
                  <a:pos x="262" y="282"/>
                </a:cxn>
                <a:cxn ang="0">
                  <a:pos x="262" y="189"/>
                </a:cxn>
                <a:cxn ang="0">
                  <a:pos x="258" y="160"/>
                </a:cxn>
                <a:cxn ang="0">
                  <a:pos x="250" y="138"/>
                </a:cxn>
                <a:cxn ang="0">
                  <a:pos x="236" y="122"/>
                </a:cxn>
                <a:cxn ang="0">
                  <a:pos x="216" y="110"/>
                </a:cxn>
                <a:cxn ang="0">
                  <a:pos x="191" y="108"/>
                </a:cxn>
                <a:cxn ang="0">
                  <a:pos x="191" y="0"/>
                </a:cxn>
                <a:cxn ang="0">
                  <a:pos x="236" y="4"/>
                </a:cxn>
                <a:cxn ang="0">
                  <a:pos x="276" y="15"/>
                </a:cxn>
                <a:cxn ang="0">
                  <a:pos x="310" y="31"/>
                </a:cxn>
                <a:cxn ang="0">
                  <a:pos x="335" y="55"/>
                </a:cxn>
                <a:cxn ang="0">
                  <a:pos x="355" y="83"/>
                </a:cxn>
                <a:cxn ang="0">
                  <a:pos x="371" y="116"/>
                </a:cxn>
                <a:cxn ang="0">
                  <a:pos x="379" y="150"/>
                </a:cxn>
                <a:cxn ang="0">
                  <a:pos x="381" y="187"/>
                </a:cxn>
                <a:cxn ang="0">
                  <a:pos x="381" y="282"/>
                </a:cxn>
                <a:cxn ang="0">
                  <a:pos x="379" y="320"/>
                </a:cxn>
                <a:cxn ang="0">
                  <a:pos x="371" y="355"/>
                </a:cxn>
                <a:cxn ang="0">
                  <a:pos x="355" y="387"/>
                </a:cxn>
                <a:cxn ang="0">
                  <a:pos x="335" y="415"/>
                </a:cxn>
                <a:cxn ang="0">
                  <a:pos x="310" y="438"/>
                </a:cxn>
                <a:cxn ang="0">
                  <a:pos x="276" y="456"/>
                </a:cxn>
                <a:cxn ang="0">
                  <a:pos x="236" y="466"/>
                </a:cxn>
                <a:cxn ang="0">
                  <a:pos x="191" y="470"/>
                </a:cxn>
                <a:cxn ang="0">
                  <a:pos x="145" y="466"/>
                </a:cxn>
                <a:cxn ang="0">
                  <a:pos x="105" y="456"/>
                </a:cxn>
                <a:cxn ang="0">
                  <a:pos x="72" y="438"/>
                </a:cxn>
                <a:cxn ang="0">
                  <a:pos x="46" y="415"/>
                </a:cxn>
                <a:cxn ang="0">
                  <a:pos x="26" y="387"/>
                </a:cxn>
                <a:cxn ang="0">
                  <a:pos x="10" y="355"/>
                </a:cxn>
                <a:cxn ang="0">
                  <a:pos x="2" y="320"/>
                </a:cxn>
                <a:cxn ang="0">
                  <a:pos x="0" y="282"/>
                </a:cxn>
                <a:cxn ang="0">
                  <a:pos x="0" y="187"/>
                </a:cxn>
                <a:cxn ang="0">
                  <a:pos x="2" y="150"/>
                </a:cxn>
                <a:cxn ang="0">
                  <a:pos x="10" y="116"/>
                </a:cxn>
                <a:cxn ang="0">
                  <a:pos x="26" y="83"/>
                </a:cxn>
                <a:cxn ang="0">
                  <a:pos x="46" y="55"/>
                </a:cxn>
                <a:cxn ang="0">
                  <a:pos x="72" y="31"/>
                </a:cxn>
                <a:cxn ang="0">
                  <a:pos x="105" y="15"/>
                </a:cxn>
                <a:cxn ang="0">
                  <a:pos x="145" y="4"/>
                </a:cxn>
                <a:cxn ang="0">
                  <a:pos x="191" y="0"/>
                </a:cxn>
              </a:cxnLst>
              <a:rect l="0" t="0" r="r" b="b"/>
              <a:pathLst>
                <a:path w="381" h="470">
                  <a:moveTo>
                    <a:pt x="191" y="108"/>
                  </a:moveTo>
                  <a:lnTo>
                    <a:pt x="165" y="110"/>
                  </a:lnTo>
                  <a:lnTo>
                    <a:pt x="145" y="122"/>
                  </a:lnTo>
                  <a:lnTo>
                    <a:pt x="131" y="138"/>
                  </a:lnTo>
                  <a:lnTo>
                    <a:pt x="123" y="160"/>
                  </a:lnTo>
                  <a:lnTo>
                    <a:pt x="119" y="189"/>
                  </a:lnTo>
                  <a:lnTo>
                    <a:pt x="119" y="282"/>
                  </a:lnTo>
                  <a:lnTo>
                    <a:pt x="123" y="310"/>
                  </a:lnTo>
                  <a:lnTo>
                    <a:pt x="131" y="334"/>
                  </a:lnTo>
                  <a:lnTo>
                    <a:pt x="145" y="349"/>
                  </a:lnTo>
                  <a:lnTo>
                    <a:pt x="165" y="359"/>
                  </a:lnTo>
                  <a:lnTo>
                    <a:pt x="191" y="363"/>
                  </a:lnTo>
                  <a:lnTo>
                    <a:pt x="216" y="359"/>
                  </a:lnTo>
                  <a:lnTo>
                    <a:pt x="236" y="349"/>
                  </a:lnTo>
                  <a:lnTo>
                    <a:pt x="250" y="334"/>
                  </a:lnTo>
                  <a:lnTo>
                    <a:pt x="258" y="310"/>
                  </a:lnTo>
                  <a:lnTo>
                    <a:pt x="262" y="282"/>
                  </a:lnTo>
                  <a:lnTo>
                    <a:pt x="262" y="189"/>
                  </a:lnTo>
                  <a:lnTo>
                    <a:pt x="258" y="160"/>
                  </a:lnTo>
                  <a:lnTo>
                    <a:pt x="250" y="138"/>
                  </a:lnTo>
                  <a:lnTo>
                    <a:pt x="236" y="122"/>
                  </a:lnTo>
                  <a:lnTo>
                    <a:pt x="216" y="110"/>
                  </a:lnTo>
                  <a:lnTo>
                    <a:pt x="191" y="108"/>
                  </a:lnTo>
                  <a:close/>
                  <a:moveTo>
                    <a:pt x="191" y="0"/>
                  </a:moveTo>
                  <a:lnTo>
                    <a:pt x="236" y="4"/>
                  </a:lnTo>
                  <a:lnTo>
                    <a:pt x="276" y="15"/>
                  </a:lnTo>
                  <a:lnTo>
                    <a:pt x="310" y="31"/>
                  </a:lnTo>
                  <a:lnTo>
                    <a:pt x="335" y="55"/>
                  </a:lnTo>
                  <a:lnTo>
                    <a:pt x="355" y="83"/>
                  </a:lnTo>
                  <a:lnTo>
                    <a:pt x="371" y="116"/>
                  </a:lnTo>
                  <a:lnTo>
                    <a:pt x="379" y="150"/>
                  </a:lnTo>
                  <a:lnTo>
                    <a:pt x="381" y="187"/>
                  </a:lnTo>
                  <a:lnTo>
                    <a:pt x="381" y="282"/>
                  </a:lnTo>
                  <a:lnTo>
                    <a:pt x="379" y="320"/>
                  </a:lnTo>
                  <a:lnTo>
                    <a:pt x="371" y="355"/>
                  </a:lnTo>
                  <a:lnTo>
                    <a:pt x="355" y="387"/>
                  </a:lnTo>
                  <a:lnTo>
                    <a:pt x="335" y="415"/>
                  </a:lnTo>
                  <a:lnTo>
                    <a:pt x="310" y="438"/>
                  </a:lnTo>
                  <a:lnTo>
                    <a:pt x="276" y="456"/>
                  </a:lnTo>
                  <a:lnTo>
                    <a:pt x="236" y="466"/>
                  </a:lnTo>
                  <a:lnTo>
                    <a:pt x="191" y="470"/>
                  </a:lnTo>
                  <a:lnTo>
                    <a:pt x="145" y="466"/>
                  </a:lnTo>
                  <a:lnTo>
                    <a:pt x="105" y="456"/>
                  </a:lnTo>
                  <a:lnTo>
                    <a:pt x="72" y="438"/>
                  </a:lnTo>
                  <a:lnTo>
                    <a:pt x="46" y="415"/>
                  </a:lnTo>
                  <a:lnTo>
                    <a:pt x="26" y="387"/>
                  </a:lnTo>
                  <a:lnTo>
                    <a:pt x="10" y="355"/>
                  </a:lnTo>
                  <a:lnTo>
                    <a:pt x="2" y="320"/>
                  </a:lnTo>
                  <a:lnTo>
                    <a:pt x="0" y="282"/>
                  </a:lnTo>
                  <a:lnTo>
                    <a:pt x="0" y="187"/>
                  </a:lnTo>
                  <a:lnTo>
                    <a:pt x="2" y="150"/>
                  </a:lnTo>
                  <a:lnTo>
                    <a:pt x="10" y="116"/>
                  </a:lnTo>
                  <a:lnTo>
                    <a:pt x="26" y="83"/>
                  </a:lnTo>
                  <a:lnTo>
                    <a:pt x="46" y="55"/>
                  </a:lnTo>
                  <a:lnTo>
                    <a:pt x="72" y="31"/>
                  </a:lnTo>
                  <a:lnTo>
                    <a:pt x="105" y="15"/>
                  </a:lnTo>
                  <a:lnTo>
                    <a:pt x="145" y="4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9"/>
            <p:cNvSpPr>
              <a:spLocks/>
            </p:cNvSpPr>
            <p:nvPr userDrawn="1"/>
          </p:nvSpPr>
          <p:spPr bwMode="black">
            <a:xfrm>
              <a:off x="4656138" y="3948113"/>
              <a:ext cx="331788" cy="373063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83" y="4"/>
                </a:cxn>
                <a:cxn ang="0">
                  <a:pos x="101" y="17"/>
                </a:cxn>
                <a:cxn ang="0">
                  <a:pos x="115" y="37"/>
                </a:cxn>
                <a:cxn ang="0">
                  <a:pos x="119" y="59"/>
                </a:cxn>
                <a:cxn ang="0">
                  <a:pos x="119" y="290"/>
                </a:cxn>
                <a:cxn ang="0">
                  <a:pos x="121" y="310"/>
                </a:cxn>
                <a:cxn ang="0">
                  <a:pos x="125" y="326"/>
                </a:cxn>
                <a:cxn ang="0">
                  <a:pos x="131" y="339"/>
                </a:cxn>
                <a:cxn ang="0">
                  <a:pos x="143" y="349"/>
                </a:cxn>
                <a:cxn ang="0">
                  <a:pos x="161" y="355"/>
                </a:cxn>
                <a:cxn ang="0">
                  <a:pos x="182" y="357"/>
                </a:cxn>
                <a:cxn ang="0">
                  <a:pos x="212" y="353"/>
                </a:cxn>
                <a:cxn ang="0">
                  <a:pos x="238" y="341"/>
                </a:cxn>
                <a:cxn ang="0">
                  <a:pos x="256" y="322"/>
                </a:cxn>
                <a:cxn ang="0">
                  <a:pos x="256" y="59"/>
                </a:cxn>
                <a:cxn ang="0">
                  <a:pos x="260" y="37"/>
                </a:cxn>
                <a:cxn ang="0">
                  <a:pos x="274" y="17"/>
                </a:cxn>
                <a:cxn ang="0">
                  <a:pos x="293" y="4"/>
                </a:cxn>
                <a:cxn ang="0">
                  <a:pos x="315" y="0"/>
                </a:cxn>
                <a:cxn ang="0">
                  <a:pos x="339" y="4"/>
                </a:cxn>
                <a:cxn ang="0">
                  <a:pos x="359" y="17"/>
                </a:cxn>
                <a:cxn ang="0">
                  <a:pos x="371" y="37"/>
                </a:cxn>
                <a:cxn ang="0">
                  <a:pos x="375" y="59"/>
                </a:cxn>
                <a:cxn ang="0">
                  <a:pos x="375" y="338"/>
                </a:cxn>
                <a:cxn ang="0">
                  <a:pos x="379" y="355"/>
                </a:cxn>
                <a:cxn ang="0">
                  <a:pos x="385" y="369"/>
                </a:cxn>
                <a:cxn ang="0">
                  <a:pos x="393" y="379"/>
                </a:cxn>
                <a:cxn ang="0">
                  <a:pos x="402" y="387"/>
                </a:cxn>
                <a:cxn ang="0">
                  <a:pos x="410" y="395"/>
                </a:cxn>
                <a:cxn ang="0">
                  <a:pos x="416" y="407"/>
                </a:cxn>
                <a:cxn ang="0">
                  <a:pos x="418" y="422"/>
                </a:cxn>
                <a:cxn ang="0">
                  <a:pos x="416" y="440"/>
                </a:cxn>
                <a:cxn ang="0">
                  <a:pos x="408" y="454"/>
                </a:cxn>
                <a:cxn ang="0">
                  <a:pos x="394" y="464"/>
                </a:cxn>
                <a:cxn ang="0">
                  <a:pos x="379" y="468"/>
                </a:cxn>
                <a:cxn ang="0">
                  <a:pos x="359" y="470"/>
                </a:cxn>
                <a:cxn ang="0">
                  <a:pos x="339" y="468"/>
                </a:cxn>
                <a:cxn ang="0">
                  <a:pos x="321" y="462"/>
                </a:cxn>
                <a:cxn ang="0">
                  <a:pos x="303" y="450"/>
                </a:cxn>
                <a:cxn ang="0">
                  <a:pos x="293" y="444"/>
                </a:cxn>
                <a:cxn ang="0">
                  <a:pos x="287" y="436"/>
                </a:cxn>
                <a:cxn ang="0">
                  <a:pos x="280" y="424"/>
                </a:cxn>
                <a:cxn ang="0">
                  <a:pos x="254" y="444"/>
                </a:cxn>
                <a:cxn ang="0">
                  <a:pos x="224" y="458"/>
                </a:cxn>
                <a:cxn ang="0">
                  <a:pos x="188" y="468"/>
                </a:cxn>
                <a:cxn ang="0">
                  <a:pos x="149" y="470"/>
                </a:cxn>
                <a:cxn ang="0">
                  <a:pos x="113" y="468"/>
                </a:cxn>
                <a:cxn ang="0">
                  <a:pos x="81" y="458"/>
                </a:cxn>
                <a:cxn ang="0">
                  <a:pos x="55" y="444"/>
                </a:cxn>
                <a:cxn ang="0">
                  <a:pos x="34" y="424"/>
                </a:cxn>
                <a:cxn ang="0">
                  <a:pos x="20" y="401"/>
                </a:cxn>
                <a:cxn ang="0">
                  <a:pos x="8" y="373"/>
                </a:cxn>
                <a:cxn ang="0">
                  <a:pos x="2" y="339"/>
                </a:cxn>
                <a:cxn ang="0">
                  <a:pos x="0" y="306"/>
                </a:cxn>
                <a:cxn ang="0">
                  <a:pos x="0" y="59"/>
                </a:cxn>
                <a:cxn ang="0">
                  <a:pos x="4" y="37"/>
                </a:cxn>
                <a:cxn ang="0">
                  <a:pos x="18" y="17"/>
                </a:cxn>
                <a:cxn ang="0">
                  <a:pos x="36" y="4"/>
                </a:cxn>
                <a:cxn ang="0">
                  <a:pos x="59" y="0"/>
                </a:cxn>
              </a:cxnLst>
              <a:rect l="0" t="0" r="r" b="b"/>
              <a:pathLst>
                <a:path w="418" h="470">
                  <a:moveTo>
                    <a:pt x="59" y="0"/>
                  </a:moveTo>
                  <a:lnTo>
                    <a:pt x="83" y="4"/>
                  </a:lnTo>
                  <a:lnTo>
                    <a:pt x="101" y="17"/>
                  </a:lnTo>
                  <a:lnTo>
                    <a:pt x="115" y="37"/>
                  </a:lnTo>
                  <a:lnTo>
                    <a:pt x="119" y="59"/>
                  </a:lnTo>
                  <a:lnTo>
                    <a:pt x="119" y="290"/>
                  </a:lnTo>
                  <a:lnTo>
                    <a:pt x="121" y="310"/>
                  </a:lnTo>
                  <a:lnTo>
                    <a:pt x="125" y="326"/>
                  </a:lnTo>
                  <a:lnTo>
                    <a:pt x="131" y="339"/>
                  </a:lnTo>
                  <a:lnTo>
                    <a:pt x="143" y="349"/>
                  </a:lnTo>
                  <a:lnTo>
                    <a:pt x="161" y="355"/>
                  </a:lnTo>
                  <a:lnTo>
                    <a:pt x="182" y="357"/>
                  </a:lnTo>
                  <a:lnTo>
                    <a:pt x="212" y="353"/>
                  </a:lnTo>
                  <a:lnTo>
                    <a:pt x="238" y="341"/>
                  </a:lnTo>
                  <a:lnTo>
                    <a:pt x="256" y="322"/>
                  </a:lnTo>
                  <a:lnTo>
                    <a:pt x="256" y="59"/>
                  </a:lnTo>
                  <a:lnTo>
                    <a:pt x="260" y="37"/>
                  </a:lnTo>
                  <a:lnTo>
                    <a:pt x="274" y="17"/>
                  </a:lnTo>
                  <a:lnTo>
                    <a:pt x="293" y="4"/>
                  </a:lnTo>
                  <a:lnTo>
                    <a:pt x="315" y="0"/>
                  </a:lnTo>
                  <a:lnTo>
                    <a:pt x="339" y="4"/>
                  </a:lnTo>
                  <a:lnTo>
                    <a:pt x="359" y="17"/>
                  </a:lnTo>
                  <a:lnTo>
                    <a:pt x="371" y="37"/>
                  </a:lnTo>
                  <a:lnTo>
                    <a:pt x="375" y="59"/>
                  </a:lnTo>
                  <a:lnTo>
                    <a:pt x="375" y="338"/>
                  </a:lnTo>
                  <a:lnTo>
                    <a:pt x="379" y="355"/>
                  </a:lnTo>
                  <a:lnTo>
                    <a:pt x="385" y="369"/>
                  </a:lnTo>
                  <a:lnTo>
                    <a:pt x="393" y="379"/>
                  </a:lnTo>
                  <a:lnTo>
                    <a:pt x="402" y="387"/>
                  </a:lnTo>
                  <a:lnTo>
                    <a:pt x="410" y="395"/>
                  </a:lnTo>
                  <a:lnTo>
                    <a:pt x="416" y="407"/>
                  </a:lnTo>
                  <a:lnTo>
                    <a:pt x="418" y="422"/>
                  </a:lnTo>
                  <a:lnTo>
                    <a:pt x="416" y="440"/>
                  </a:lnTo>
                  <a:lnTo>
                    <a:pt x="408" y="454"/>
                  </a:lnTo>
                  <a:lnTo>
                    <a:pt x="394" y="464"/>
                  </a:lnTo>
                  <a:lnTo>
                    <a:pt x="379" y="468"/>
                  </a:lnTo>
                  <a:lnTo>
                    <a:pt x="359" y="470"/>
                  </a:lnTo>
                  <a:lnTo>
                    <a:pt x="339" y="468"/>
                  </a:lnTo>
                  <a:lnTo>
                    <a:pt x="321" y="462"/>
                  </a:lnTo>
                  <a:lnTo>
                    <a:pt x="303" y="450"/>
                  </a:lnTo>
                  <a:lnTo>
                    <a:pt x="293" y="444"/>
                  </a:lnTo>
                  <a:lnTo>
                    <a:pt x="287" y="436"/>
                  </a:lnTo>
                  <a:lnTo>
                    <a:pt x="280" y="424"/>
                  </a:lnTo>
                  <a:lnTo>
                    <a:pt x="254" y="444"/>
                  </a:lnTo>
                  <a:lnTo>
                    <a:pt x="224" y="458"/>
                  </a:lnTo>
                  <a:lnTo>
                    <a:pt x="188" y="468"/>
                  </a:lnTo>
                  <a:lnTo>
                    <a:pt x="149" y="470"/>
                  </a:lnTo>
                  <a:lnTo>
                    <a:pt x="113" y="468"/>
                  </a:lnTo>
                  <a:lnTo>
                    <a:pt x="81" y="458"/>
                  </a:lnTo>
                  <a:lnTo>
                    <a:pt x="55" y="444"/>
                  </a:lnTo>
                  <a:lnTo>
                    <a:pt x="34" y="424"/>
                  </a:lnTo>
                  <a:lnTo>
                    <a:pt x="20" y="401"/>
                  </a:lnTo>
                  <a:lnTo>
                    <a:pt x="8" y="373"/>
                  </a:lnTo>
                  <a:lnTo>
                    <a:pt x="2" y="339"/>
                  </a:lnTo>
                  <a:lnTo>
                    <a:pt x="0" y="306"/>
                  </a:lnTo>
                  <a:lnTo>
                    <a:pt x="0" y="59"/>
                  </a:lnTo>
                  <a:lnTo>
                    <a:pt x="4" y="37"/>
                  </a:lnTo>
                  <a:lnTo>
                    <a:pt x="18" y="17"/>
                  </a:lnTo>
                  <a:lnTo>
                    <a:pt x="36" y="4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black">
            <a:xfrm>
              <a:off x="5037138" y="3948113"/>
              <a:ext cx="328613" cy="498475"/>
            </a:xfrm>
            <a:custGeom>
              <a:avLst/>
              <a:gdLst/>
              <a:ahLst/>
              <a:cxnLst>
                <a:cxn ang="0">
                  <a:pos x="202" y="104"/>
                </a:cxn>
                <a:cxn ang="0">
                  <a:pos x="158" y="126"/>
                </a:cxn>
                <a:cxn ang="0">
                  <a:pos x="180" y="357"/>
                </a:cxn>
                <a:cxn ang="0">
                  <a:pos x="224" y="371"/>
                </a:cxn>
                <a:cxn ang="0">
                  <a:pos x="271" y="355"/>
                </a:cxn>
                <a:cxn ang="0">
                  <a:pos x="293" y="314"/>
                </a:cxn>
                <a:cxn ang="0">
                  <a:pos x="295" y="179"/>
                </a:cxn>
                <a:cxn ang="0">
                  <a:pos x="285" y="130"/>
                </a:cxn>
                <a:cxn ang="0">
                  <a:pos x="251" y="104"/>
                </a:cxn>
                <a:cxn ang="0">
                  <a:pos x="59" y="0"/>
                </a:cxn>
                <a:cxn ang="0">
                  <a:pos x="97" y="7"/>
                </a:cxn>
                <a:cxn ang="0">
                  <a:pos x="125" y="27"/>
                </a:cxn>
                <a:cxn ang="0">
                  <a:pos x="164" y="17"/>
                </a:cxn>
                <a:cxn ang="0">
                  <a:pos x="244" y="0"/>
                </a:cxn>
                <a:cxn ang="0">
                  <a:pos x="319" y="11"/>
                </a:cxn>
                <a:cxn ang="0">
                  <a:pos x="372" y="49"/>
                </a:cxn>
                <a:cxn ang="0">
                  <a:pos x="404" y="108"/>
                </a:cxn>
                <a:cxn ang="0">
                  <a:pos x="414" y="189"/>
                </a:cxn>
                <a:cxn ang="0">
                  <a:pos x="412" y="308"/>
                </a:cxn>
                <a:cxn ang="0">
                  <a:pos x="394" y="385"/>
                </a:cxn>
                <a:cxn ang="0">
                  <a:pos x="357" y="438"/>
                </a:cxn>
                <a:cxn ang="0">
                  <a:pos x="293" y="466"/>
                </a:cxn>
                <a:cxn ang="0">
                  <a:pos x="218" y="468"/>
                </a:cxn>
                <a:cxn ang="0">
                  <a:pos x="158" y="444"/>
                </a:cxn>
                <a:cxn ang="0">
                  <a:pos x="154" y="590"/>
                </a:cxn>
                <a:cxn ang="0">
                  <a:pos x="123" y="622"/>
                </a:cxn>
                <a:cxn ang="0">
                  <a:pos x="75" y="622"/>
                </a:cxn>
                <a:cxn ang="0">
                  <a:pos x="43" y="590"/>
                </a:cxn>
                <a:cxn ang="0">
                  <a:pos x="39" y="134"/>
                </a:cxn>
                <a:cxn ang="0">
                  <a:pos x="31" y="102"/>
                </a:cxn>
                <a:cxn ang="0">
                  <a:pos x="16" y="85"/>
                </a:cxn>
                <a:cxn ang="0">
                  <a:pos x="2" y="63"/>
                </a:cxn>
                <a:cxn ang="0">
                  <a:pos x="2" y="31"/>
                </a:cxn>
                <a:cxn ang="0">
                  <a:pos x="24" y="7"/>
                </a:cxn>
                <a:cxn ang="0">
                  <a:pos x="59" y="0"/>
                </a:cxn>
              </a:cxnLst>
              <a:rect l="0" t="0" r="r" b="b"/>
              <a:pathLst>
                <a:path w="414" h="628">
                  <a:moveTo>
                    <a:pt x="224" y="100"/>
                  </a:moveTo>
                  <a:lnTo>
                    <a:pt x="202" y="104"/>
                  </a:lnTo>
                  <a:lnTo>
                    <a:pt x="180" y="112"/>
                  </a:lnTo>
                  <a:lnTo>
                    <a:pt x="158" y="126"/>
                  </a:lnTo>
                  <a:lnTo>
                    <a:pt x="158" y="343"/>
                  </a:lnTo>
                  <a:lnTo>
                    <a:pt x="180" y="357"/>
                  </a:lnTo>
                  <a:lnTo>
                    <a:pt x="202" y="367"/>
                  </a:lnTo>
                  <a:lnTo>
                    <a:pt x="224" y="371"/>
                  </a:lnTo>
                  <a:lnTo>
                    <a:pt x="251" y="367"/>
                  </a:lnTo>
                  <a:lnTo>
                    <a:pt x="271" y="355"/>
                  </a:lnTo>
                  <a:lnTo>
                    <a:pt x="285" y="338"/>
                  </a:lnTo>
                  <a:lnTo>
                    <a:pt x="293" y="314"/>
                  </a:lnTo>
                  <a:lnTo>
                    <a:pt x="295" y="284"/>
                  </a:lnTo>
                  <a:lnTo>
                    <a:pt x="295" y="179"/>
                  </a:lnTo>
                  <a:lnTo>
                    <a:pt x="293" y="152"/>
                  </a:lnTo>
                  <a:lnTo>
                    <a:pt x="285" y="130"/>
                  </a:lnTo>
                  <a:lnTo>
                    <a:pt x="271" y="114"/>
                  </a:lnTo>
                  <a:lnTo>
                    <a:pt x="251" y="104"/>
                  </a:lnTo>
                  <a:lnTo>
                    <a:pt x="224" y="100"/>
                  </a:lnTo>
                  <a:close/>
                  <a:moveTo>
                    <a:pt x="59" y="0"/>
                  </a:moveTo>
                  <a:lnTo>
                    <a:pt x="79" y="2"/>
                  </a:lnTo>
                  <a:lnTo>
                    <a:pt x="97" y="7"/>
                  </a:lnTo>
                  <a:lnTo>
                    <a:pt x="115" y="19"/>
                  </a:lnTo>
                  <a:lnTo>
                    <a:pt x="125" y="27"/>
                  </a:lnTo>
                  <a:lnTo>
                    <a:pt x="133" y="35"/>
                  </a:lnTo>
                  <a:lnTo>
                    <a:pt x="164" y="17"/>
                  </a:lnTo>
                  <a:lnTo>
                    <a:pt x="204" y="4"/>
                  </a:lnTo>
                  <a:lnTo>
                    <a:pt x="244" y="0"/>
                  </a:lnTo>
                  <a:lnTo>
                    <a:pt x="285" y="4"/>
                  </a:lnTo>
                  <a:lnTo>
                    <a:pt x="319" y="11"/>
                  </a:lnTo>
                  <a:lnTo>
                    <a:pt x="349" y="27"/>
                  </a:lnTo>
                  <a:lnTo>
                    <a:pt x="372" y="49"/>
                  </a:lnTo>
                  <a:lnTo>
                    <a:pt x="390" y="75"/>
                  </a:lnTo>
                  <a:lnTo>
                    <a:pt x="404" y="108"/>
                  </a:lnTo>
                  <a:lnTo>
                    <a:pt x="412" y="146"/>
                  </a:lnTo>
                  <a:lnTo>
                    <a:pt x="414" y="189"/>
                  </a:lnTo>
                  <a:lnTo>
                    <a:pt x="414" y="260"/>
                  </a:lnTo>
                  <a:lnTo>
                    <a:pt x="412" y="308"/>
                  </a:lnTo>
                  <a:lnTo>
                    <a:pt x="406" y="349"/>
                  </a:lnTo>
                  <a:lnTo>
                    <a:pt x="394" y="385"/>
                  </a:lnTo>
                  <a:lnTo>
                    <a:pt x="378" y="415"/>
                  </a:lnTo>
                  <a:lnTo>
                    <a:pt x="357" y="438"/>
                  </a:lnTo>
                  <a:lnTo>
                    <a:pt x="329" y="456"/>
                  </a:lnTo>
                  <a:lnTo>
                    <a:pt x="293" y="466"/>
                  </a:lnTo>
                  <a:lnTo>
                    <a:pt x="251" y="470"/>
                  </a:lnTo>
                  <a:lnTo>
                    <a:pt x="218" y="468"/>
                  </a:lnTo>
                  <a:lnTo>
                    <a:pt x="186" y="458"/>
                  </a:lnTo>
                  <a:lnTo>
                    <a:pt x="158" y="444"/>
                  </a:lnTo>
                  <a:lnTo>
                    <a:pt x="158" y="569"/>
                  </a:lnTo>
                  <a:lnTo>
                    <a:pt x="154" y="590"/>
                  </a:lnTo>
                  <a:lnTo>
                    <a:pt x="140" y="610"/>
                  </a:lnTo>
                  <a:lnTo>
                    <a:pt x="123" y="622"/>
                  </a:lnTo>
                  <a:lnTo>
                    <a:pt x="99" y="628"/>
                  </a:lnTo>
                  <a:lnTo>
                    <a:pt x="75" y="622"/>
                  </a:lnTo>
                  <a:lnTo>
                    <a:pt x="57" y="610"/>
                  </a:lnTo>
                  <a:lnTo>
                    <a:pt x="43" y="590"/>
                  </a:lnTo>
                  <a:lnTo>
                    <a:pt x="39" y="569"/>
                  </a:lnTo>
                  <a:lnTo>
                    <a:pt x="39" y="134"/>
                  </a:lnTo>
                  <a:lnTo>
                    <a:pt x="37" y="116"/>
                  </a:lnTo>
                  <a:lnTo>
                    <a:pt x="31" y="102"/>
                  </a:lnTo>
                  <a:lnTo>
                    <a:pt x="25" y="92"/>
                  </a:lnTo>
                  <a:lnTo>
                    <a:pt x="16" y="85"/>
                  </a:lnTo>
                  <a:lnTo>
                    <a:pt x="8" y="75"/>
                  </a:lnTo>
                  <a:lnTo>
                    <a:pt x="2" y="63"/>
                  </a:lnTo>
                  <a:lnTo>
                    <a:pt x="0" y="49"/>
                  </a:lnTo>
                  <a:lnTo>
                    <a:pt x="2" y="31"/>
                  </a:lnTo>
                  <a:lnTo>
                    <a:pt x="10" y="17"/>
                  </a:lnTo>
                  <a:lnTo>
                    <a:pt x="24" y="7"/>
                  </a:lnTo>
                  <a:lnTo>
                    <a:pt x="39" y="2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02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905"/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23" name="Line 12"/>
          <p:cNvSpPr>
            <a:spLocks noChangeShapeType="1"/>
          </p:cNvSpPr>
          <p:nvPr userDrawn="1"/>
        </p:nvSpPr>
        <p:spPr bwMode="auto">
          <a:xfrm>
            <a:off x="0" y="6142311"/>
            <a:ext cx="9906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ffectLst/>
        </p:spPr>
        <p:txBody>
          <a:bodyPr lIns="91390" tIns="45696" rIns="91390" bIns="45696"/>
          <a:lstStyle/>
          <a:p>
            <a:pPr defTabSz="913905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auto">
          <a:xfrm>
            <a:off x="471236" y="5702336"/>
            <a:ext cx="9022027" cy="913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algn="ctr" defTabSz="913905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000000"/>
                </a:solidFill>
                <a:cs typeface="Arial" pitchFamily="34" charset="0"/>
              </a:rPr>
              <a:t>All trade marks are the property of Royal Mail Group Ltd. © Royal Mail Group Ltd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354857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9141" y="1049558"/>
            <a:ext cx="9601769" cy="349556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5112" y="4689521"/>
            <a:ext cx="9542963" cy="16922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09685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 userDrawn="1"/>
        </p:nvSpPr>
        <p:spPr bwMode="auto">
          <a:xfrm>
            <a:off x="503900" y="1"/>
            <a:ext cx="9206044" cy="257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800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714" tIns="47857" rIns="95714" bIns="47857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100" dirty="0">
                <a:solidFill>
                  <a:srgbClr val="FF0000"/>
                </a:solidFill>
                <a:latin typeface="ChevinLight" pitchFamily="2" charset="0"/>
                <a:cs typeface="Arial" charset="0"/>
              </a:rPr>
              <a:t>		             			</a:t>
            </a:r>
            <a:r>
              <a:rPr lang="en-GB" sz="1100" b="0" dirty="0">
                <a:solidFill>
                  <a:srgbClr val="FF0000"/>
                </a:solidFill>
                <a:latin typeface="ChevinBold" pitchFamily="2" charset="0"/>
                <a:cs typeface="Arial" charset="0"/>
              </a:rPr>
              <a:t>Strictly Confidential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3817084" y="6019800"/>
            <a:ext cx="2271845" cy="457200"/>
            <a:chOff x="3233209" y="6019800"/>
            <a:chExt cx="2271845" cy="457200"/>
          </a:xfrm>
        </p:grpSpPr>
        <p:pic>
          <p:nvPicPr>
            <p:cNvPr id="6" name="Picture 1039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3209" y="6019800"/>
              <a:ext cx="741231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1040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88909" y="6019800"/>
              <a:ext cx="1116145" cy="414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68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42950" y="2130452"/>
            <a:ext cx="84201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441183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1475" y="927103"/>
            <a:ext cx="9163050" cy="22138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5E77DC-6274-473E-AFF3-FB2942B6C2E2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0047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27"/>
            <a:ext cx="8420100" cy="1362075"/>
          </a:xfrm>
        </p:spPr>
        <p:txBody>
          <a:bodyPr anchor="t"/>
          <a:lstStyle>
            <a:lvl1pPr algn="l">
              <a:defRPr sz="42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22"/>
            <a:ext cx="8420100" cy="1500187"/>
          </a:xfrm>
        </p:spPr>
        <p:txBody>
          <a:bodyPr anchor="b"/>
          <a:lstStyle>
            <a:lvl1pPr marL="0" indent="0">
              <a:buNone/>
              <a:defRPr sz="2100"/>
            </a:lvl1pPr>
            <a:lvl2pPr marL="478908" indent="0">
              <a:buNone/>
              <a:defRPr sz="1900"/>
            </a:lvl2pPr>
            <a:lvl3pPr marL="957816" indent="0">
              <a:buNone/>
              <a:defRPr sz="1600"/>
            </a:lvl3pPr>
            <a:lvl4pPr marL="1436724" indent="0">
              <a:buNone/>
              <a:defRPr sz="1500"/>
            </a:lvl4pPr>
            <a:lvl5pPr marL="1915631" indent="0">
              <a:buNone/>
              <a:defRPr sz="1500"/>
            </a:lvl5pPr>
            <a:lvl6pPr marL="2394539" indent="0">
              <a:buNone/>
              <a:defRPr sz="1500"/>
            </a:lvl6pPr>
            <a:lvl7pPr marL="2873447" indent="0">
              <a:buNone/>
              <a:defRPr sz="1500"/>
            </a:lvl7pPr>
            <a:lvl8pPr marL="3352355" indent="0">
              <a:buNone/>
              <a:defRPr sz="1500"/>
            </a:lvl8pPr>
            <a:lvl9pPr marL="3831263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04EB3C-0C19-4B87-9993-4344A8CC9AF0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6235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475" y="927102"/>
            <a:ext cx="4498975" cy="5211763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927102"/>
            <a:ext cx="4498975" cy="5211763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4EA8AA-2392-4D07-B77A-BA3FEB1DE041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9950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8908" indent="0">
              <a:buNone/>
              <a:defRPr sz="2100" b="1"/>
            </a:lvl2pPr>
            <a:lvl3pPr marL="957816" indent="0">
              <a:buNone/>
              <a:defRPr sz="1900" b="1"/>
            </a:lvl3pPr>
            <a:lvl4pPr marL="1436724" indent="0">
              <a:buNone/>
              <a:defRPr sz="1600" b="1"/>
            </a:lvl4pPr>
            <a:lvl5pPr marL="1915631" indent="0">
              <a:buNone/>
              <a:defRPr sz="1600" b="1"/>
            </a:lvl5pPr>
            <a:lvl6pPr marL="2394539" indent="0">
              <a:buNone/>
              <a:defRPr sz="1600" b="1"/>
            </a:lvl6pPr>
            <a:lvl7pPr marL="2873447" indent="0">
              <a:buNone/>
              <a:defRPr sz="1600" b="1"/>
            </a:lvl7pPr>
            <a:lvl8pPr marL="3352355" indent="0">
              <a:buNone/>
              <a:defRPr sz="1600" b="1"/>
            </a:lvl8pPr>
            <a:lvl9pPr marL="383126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8908" indent="0">
              <a:buNone/>
              <a:defRPr sz="2100" b="1"/>
            </a:lvl2pPr>
            <a:lvl3pPr marL="957816" indent="0">
              <a:buNone/>
              <a:defRPr sz="1900" b="1"/>
            </a:lvl3pPr>
            <a:lvl4pPr marL="1436724" indent="0">
              <a:buNone/>
              <a:defRPr sz="1600" b="1"/>
            </a:lvl4pPr>
            <a:lvl5pPr marL="1915631" indent="0">
              <a:buNone/>
              <a:defRPr sz="1600" b="1"/>
            </a:lvl5pPr>
            <a:lvl6pPr marL="2394539" indent="0">
              <a:buNone/>
              <a:defRPr sz="1600" b="1"/>
            </a:lvl6pPr>
            <a:lvl7pPr marL="2873447" indent="0">
              <a:buNone/>
              <a:defRPr sz="1600" b="1"/>
            </a:lvl7pPr>
            <a:lvl8pPr marL="3352355" indent="0">
              <a:buNone/>
              <a:defRPr sz="1600" b="1"/>
            </a:lvl8pPr>
            <a:lvl9pPr marL="383126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82B61D-49DA-4BB0-9DE3-33C9FC56C523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33637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7317721" y="0"/>
            <a:ext cx="2588286" cy="2659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782" tIns="47891" rIns="95782" bIns="4789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100" b="0" dirty="0">
                <a:solidFill>
                  <a:srgbClr val="FF0000"/>
                </a:solidFill>
                <a:latin typeface="ChevinBold" pitchFamily="2" charset="0"/>
              </a:rPr>
              <a:t>Strictly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4FDC1E-6F4B-4077-8DD9-967FFA442B26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895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0B323B-F390-4F96-99B7-5644692F2689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8732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9" y="273050"/>
            <a:ext cx="3259006" cy="116205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2"/>
            <a:ext cx="5537729" cy="5853113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9" y="1435102"/>
            <a:ext cx="3259006" cy="4691063"/>
          </a:xfrm>
        </p:spPr>
        <p:txBody>
          <a:bodyPr/>
          <a:lstStyle>
            <a:lvl1pPr marL="0" indent="0">
              <a:buNone/>
              <a:defRPr sz="1500"/>
            </a:lvl1pPr>
            <a:lvl2pPr marL="478908" indent="0">
              <a:buNone/>
              <a:defRPr sz="1300"/>
            </a:lvl2pPr>
            <a:lvl3pPr marL="957816" indent="0">
              <a:buNone/>
              <a:defRPr sz="1000"/>
            </a:lvl3pPr>
            <a:lvl4pPr marL="1436724" indent="0">
              <a:buNone/>
              <a:defRPr sz="1000"/>
            </a:lvl4pPr>
            <a:lvl5pPr marL="1915631" indent="0">
              <a:buNone/>
              <a:defRPr sz="1000"/>
            </a:lvl5pPr>
            <a:lvl6pPr marL="2394539" indent="0">
              <a:buNone/>
              <a:defRPr sz="1000"/>
            </a:lvl6pPr>
            <a:lvl7pPr marL="2873447" indent="0">
              <a:buNone/>
              <a:defRPr sz="1000"/>
            </a:lvl7pPr>
            <a:lvl8pPr marL="3352355" indent="0">
              <a:buNone/>
              <a:defRPr sz="1000"/>
            </a:lvl8pPr>
            <a:lvl9pPr marL="383126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AA28B2-F55E-4101-B37C-EC6AFB6BCEC6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783893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400"/>
            </a:lvl1pPr>
            <a:lvl2pPr marL="478908" indent="0">
              <a:buNone/>
              <a:defRPr sz="2900"/>
            </a:lvl2pPr>
            <a:lvl3pPr marL="957816" indent="0">
              <a:buNone/>
              <a:defRPr sz="2500"/>
            </a:lvl3pPr>
            <a:lvl4pPr marL="1436724" indent="0">
              <a:buNone/>
              <a:defRPr sz="2100"/>
            </a:lvl4pPr>
            <a:lvl5pPr marL="1915631" indent="0">
              <a:buNone/>
              <a:defRPr sz="2100"/>
            </a:lvl5pPr>
            <a:lvl6pPr marL="2394539" indent="0">
              <a:buNone/>
              <a:defRPr sz="2100"/>
            </a:lvl6pPr>
            <a:lvl7pPr marL="2873447" indent="0">
              <a:buNone/>
              <a:defRPr sz="2100"/>
            </a:lvl7pPr>
            <a:lvl8pPr marL="3352355" indent="0">
              <a:buNone/>
              <a:defRPr sz="2100"/>
            </a:lvl8pPr>
            <a:lvl9pPr marL="3831263" indent="0">
              <a:buNone/>
              <a:defRPr sz="21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500"/>
            </a:lvl1pPr>
            <a:lvl2pPr marL="478908" indent="0">
              <a:buNone/>
              <a:defRPr sz="1300"/>
            </a:lvl2pPr>
            <a:lvl3pPr marL="957816" indent="0">
              <a:buNone/>
              <a:defRPr sz="1000"/>
            </a:lvl3pPr>
            <a:lvl4pPr marL="1436724" indent="0">
              <a:buNone/>
              <a:defRPr sz="1000"/>
            </a:lvl4pPr>
            <a:lvl5pPr marL="1915631" indent="0">
              <a:buNone/>
              <a:defRPr sz="1000"/>
            </a:lvl5pPr>
            <a:lvl6pPr marL="2394539" indent="0">
              <a:buNone/>
              <a:defRPr sz="1000"/>
            </a:lvl6pPr>
            <a:lvl7pPr marL="2873447" indent="0">
              <a:buNone/>
              <a:defRPr sz="1000"/>
            </a:lvl7pPr>
            <a:lvl8pPr marL="3352355" indent="0">
              <a:buNone/>
              <a:defRPr sz="1000"/>
            </a:lvl8pPr>
            <a:lvl9pPr marL="383126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5BAC1B-088B-49B8-B412-FBA0F43484BB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7315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636E4C-2425-4E22-8DE3-E2043D58946F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8426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160847" y="1048603"/>
            <a:ext cx="3099888" cy="533315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3"/>
          </p:nvPr>
        </p:nvSpPr>
        <p:spPr>
          <a:xfrm>
            <a:off x="3405190" y="1052530"/>
            <a:ext cx="3095624" cy="533315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sz="half" idx="14"/>
          </p:nvPr>
        </p:nvSpPr>
        <p:spPr>
          <a:xfrm>
            <a:off x="6645275" y="1052530"/>
            <a:ext cx="3085390" cy="533315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65773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19182" y="122239"/>
            <a:ext cx="2471341" cy="60166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" y="122239"/>
            <a:ext cx="7254081" cy="60166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BDC1DC-E7ED-4B38-B84C-7189D079ADF1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908025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 userDrawn="1"/>
        </p:nvSpPr>
        <p:spPr bwMode="auto">
          <a:xfrm>
            <a:off x="503900" y="1"/>
            <a:ext cx="9206044" cy="257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800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714" tIns="47857" rIns="95714" bIns="47857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100" dirty="0">
                <a:solidFill>
                  <a:srgbClr val="FF0000"/>
                </a:solidFill>
                <a:latin typeface="ChevinLight" pitchFamily="2" charset="0"/>
                <a:cs typeface="Arial" charset="0"/>
              </a:rPr>
              <a:t>		             			</a:t>
            </a:r>
            <a:r>
              <a:rPr lang="en-GB" sz="1100" b="0" dirty="0">
                <a:solidFill>
                  <a:srgbClr val="FF0000"/>
                </a:solidFill>
                <a:latin typeface="ChevinBold" pitchFamily="2" charset="0"/>
                <a:cs typeface="Arial" charset="0"/>
              </a:rPr>
              <a:t>Strictly Confidential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3817084" y="6019800"/>
            <a:ext cx="2271845" cy="457200"/>
            <a:chOff x="3233209" y="6019800"/>
            <a:chExt cx="2271845" cy="457200"/>
          </a:xfrm>
        </p:grpSpPr>
        <p:pic>
          <p:nvPicPr>
            <p:cNvPr id="6" name="Picture 1039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3209" y="6019800"/>
              <a:ext cx="741231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1040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88909" y="6019800"/>
              <a:ext cx="1116145" cy="414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68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42950" y="2130442"/>
            <a:ext cx="84201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513112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1475" y="927103"/>
            <a:ext cx="9163050" cy="22138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5E77DC-6274-473E-AFF3-FB2942B6C2E2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8417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7"/>
            <a:ext cx="8420100" cy="1362075"/>
          </a:xfrm>
        </p:spPr>
        <p:txBody>
          <a:bodyPr anchor="t"/>
          <a:lstStyle>
            <a:lvl1pPr algn="l">
              <a:defRPr sz="42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22"/>
            <a:ext cx="8420100" cy="1500187"/>
          </a:xfrm>
        </p:spPr>
        <p:txBody>
          <a:bodyPr anchor="b"/>
          <a:lstStyle>
            <a:lvl1pPr marL="0" indent="0">
              <a:buNone/>
              <a:defRPr sz="2100"/>
            </a:lvl1pPr>
            <a:lvl2pPr marL="478908" indent="0">
              <a:buNone/>
              <a:defRPr sz="1900"/>
            </a:lvl2pPr>
            <a:lvl3pPr marL="957816" indent="0">
              <a:buNone/>
              <a:defRPr sz="1600"/>
            </a:lvl3pPr>
            <a:lvl4pPr marL="1436724" indent="0">
              <a:buNone/>
              <a:defRPr sz="1500"/>
            </a:lvl4pPr>
            <a:lvl5pPr marL="1915631" indent="0">
              <a:buNone/>
              <a:defRPr sz="1500"/>
            </a:lvl5pPr>
            <a:lvl6pPr marL="2394539" indent="0">
              <a:buNone/>
              <a:defRPr sz="1500"/>
            </a:lvl6pPr>
            <a:lvl7pPr marL="2873447" indent="0">
              <a:buNone/>
              <a:defRPr sz="1500"/>
            </a:lvl7pPr>
            <a:lvl8pPr marL="3352355" indent="0">
              <a:buNone/>
              <a:defRPr sz="1500"/>
            </a:lvl8pPr>
            <a:lvl9pPr marL="3831263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04EB3C-0C19-4B87-9993-4344A8CC9AF0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313904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475" y="927102"/>
            <a:ext cx="4498975" cy="5211763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927102"/>
            <a:ext cx="4498975" cy="5211763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4EA8AA-2392-4D07-B77A-BA3FEB1DE041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37352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8908" indent="0">
              <a:buNone/>
              <a:defRPr sz="2100" b="1"/>
            </a:lvl2pPr>
            <a:lvl3pPr marL="957816" indent="0">
              <a:buNone/>
              <a:defRPr sz="1900" b="1"/>
            </a:lvl3pPr>
            <a:lvl4pPr marL="1436724" indent="0">
              <a:buNone/>
              <a:defRPr sz="1600" b="1"/>
            </a:lvl4pPr>
            <a:lvl5pPr marL="1915631" indent="0">
              <a:buNone/>
              <a:defRPr sz="1600" b="1"/>
            </a:lvl5pPr>
            <a:lvl6pPr marL="2394539" indent="0">
              <a:buNone/>
              <a:defRPr sz="1600" b="1"/>
            </a:lvl6pPr>
            <a:lvl7pPr marL="2873447" indent="0">
              <a:buNone/>
              <a:defRPr sz="1600" b="1"/>
            </a:lvl7pPr>
            <a:lvl8pPr marL="3352355" indent="0">
              <a:buNone/>
              <a:defRPr sz="1600" b="1"/>
            </a:lvl8pPr>
            <a:lvl9pPr marL="383126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8908" indent="0">
              <a:buNone/>
              <a:defRPr sz="2100" b="1"/>
            </a:lvl2pPr>
            <a:lvl3pPr marL="957816" indent="0">
              <a:buNone/>
              <a:defRPr sz="1900" b="1"/>
            </a:lvl3pPr>
            <a:lvl4pPr marL="1436724" indent="0">
              <a:buNone/>
              <a:defRPr sz="1600" b="1"/>
            </a:lvl4pPr>
            <a:lvl5pPr marL="1915631" indent="0">
              <a:buNone/>
              <a:defRPr sz="1600" b="1"/>
            </a:lvl5pPr>
            <a:lvl6pPr marL="2394539" indent="0">
              <a:buNone/>
              <a:defRPr sz="1600" b="1"/>
            </a:lvl6pPr>
            <a:lvl7pPr marL="2873447" indent="0">
              <a:buNone/>
              <a:defRPr sz="1600" b="1"/>
            </a:lvl7pPr>
            <a:lvl8pPr marL="3352355" indent="0">
              <a:buNone/>
              <a:defRPr sz="1600" b="1"/>
            </a:lvl8pPr>
            <a:lvl9pPr marL="383126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82B61D-49DA-4BB0-9DE3-33C9FC56C523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06275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7317721" y="0"/>
            <a:ext cx="2588286" cy="26599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782" tIns="47891" rIns="95782" bIns="4789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100" b="0" dirty="0">
                <a:solidFill>
                  <a:srgbClr val="FF0000"/>
                </a:solidFill>
                <a:latin typeface="ChevinBold" pitchFamily="2" charset="0"/>
              </a:rPr>
              <a:t>Strictly Confidenti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4FDC1E-6F4B-4077-8DD9-967FFA442B26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3545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0B323B-F390-4F96-99B7-5644692F2689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375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9" y="273050"/>
            <a:ext cx="3259006" cy="116205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2"/>
            <a:ext cx="5537729" cy="5853113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9" y="1435102"/>
            <a:ext cx="3259006" cy="4691063"/>
          </a:xfrm>
        </p:spPr>
        <p:txBody>
          <a:bodyPr/>
          <a:lstStyle>
            <a:lvl1pPr marL="0" indent="0">
              <a:buNone/>
              <a:defRPr sz="1500"/>
            </a:lvl1pPr>
            <a:lvl2pPr marL="478908" indent="0">
              <a:buNone/>
              <a:defRPr sz="1300"/>
            </a:lvl2pPr>
            <a:lvl3pPr marL="957816" indent="0">
              <a:buNone/>
              <a:defRPr sz="1000"/>
            </a:lvl3pPr>
            <a:lvl4pPr marL="1436724" indent="0">
              <a:buNone/>
              <a:defRPr sz="1000"/>
            </a:lvl4pPr>
            <a:lvl5pPr marL="1915631" indent="0">
              <a:buNone/>
              <a:defRPr sz="1000"/>
            </a:lvl5pPr>
            <a:lvl6pPr marL="2394539" indent="0">
              <a:buNone/>
              <a:defRPr sz="1000"/>
            </a:lvl6pPr>
            <a:lvl7pPr marL="2873447" indent="0">
              <a:buNone/>
              <a:defRPr sz="1000"/>
            </a:lvl7pPr>
            <a:lvl8pPr marL="3352355" indent="0">
              <a:buNone/>
              <a:defRPr sz="1000"/>
            </a:lvl8pPr>
            <a:lvl9pPr marL="383126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AA28B2-F55E-4101-B37C-EC6AFB6BCEC6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40441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400"/>
            </a:lvl1pPr>
            <a:lvl2pPr marL="478908" indent="0">
              <a:buNone/>
              <a:defRPr sz="2900"/>
            </a:lvl2pPr>
            <a:lvl3pPr marL="957816" indent="0">
              <a:buNone/>
              <a:defRPr sz="2500"/>
            </a:lvl3pPr>
            <a:lvl4pPr marL="1436724" indent="0">
              <a:buNone/>
              <a:defRPr sz="2100"/>
            </a:lvl4pPr>
            <a:lvl5pPr marL="1915631" indent="0">
              <a:buNone/>
              <a:defRPr sz="2100"/>
            </a:lvl5pPr>
            <a:lvl6pPr marL="2394539" indent="0">
              <a:buNone/>
              <a:defRPr sz="2100"/>
            </a:lvl6pPr>
            <a:lvl7pPr marL="2873447" indent="0">
              <a:buNone/>
              <a:defRPr sz="2100"/>
            </a:lvl7pPr>
            <a:lvl8pPr marL="3352355" indent="0">
              <a:buNone/>
              <a:defRPr sz="2100"/>
            </a:lvl8pPr>
            <a:lvl9pPr marL="3831263" indent="0">
              <a:buNone/>
              <a:defRPr sz="21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500"/>
            </a:lvl1pPr>
            <a:lvl2pPr marL="478908" indent="0">
              <a:buNone/>
              <a:defRPr sz="1300"/>
            </a:lvl2pPr>
            <a:lvl3pPr marL="957816" indent="0">
              <a:buNone/>
              <a:defRPr sz="1000"/>
            </a:lvl3pPr>
            <a:lvl4pPr marL="1436724" indent="0">
              <a:buNone/>
              <a:defRPr sz="1000"/>
            </a:lvl4pPr>
            <a:lvl5pPr marL="1915631" indent="0">
              <a:buNone/>
              <a:defRPr sz="1000"/>
            </a:lvl5pPr>
            <a:lvl6pPr marL="2394539" indent="0">
              <a:buNone/>
              <a:defRPr sz="1000"/>
            </a:lvl6pPr>
            <a:lvl7pPr marL="2873447" indent="0">
              <a:buNone/>
              <a:defRPr sz="1000"/>
            </a:lvl7pPr>
            <a:lvl8pPr marL="3352355" indent="0">
              <a:buNone/>
              <a:defRPr sz="1000"/>
            </a:lvl8pPr>
            <a:lvl9pPr marL="383126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5BAC1B-088B-49B8-B412-FBA0F43484BB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8373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0027" y="1049578"/>
            <a:ext cx="4681538" cy="270329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4449" y="1052537"/>
            <a:ext cx="4683625" cy="270033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200027" y="3720505"/>
            <a:ext cx="4681538" cy="266678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5026675" y="3716365"/>
            <a:ext cx="4683625" cy="26638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15562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636E4C-2425-4E22-8DE3-E2043D58946F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58613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19182" y="122239"/>
            <a:ext cx="2471341" cy="60166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" y="122239"/>
            <a:ext cx="7254081" cy="60166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BDC1DC-E7ED-4B38-B84C-7189D079ADF1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9757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81472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448800"/>
            <a:ext cx="84201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39804" y="3204554"/>
            <a:ext cx="7680325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6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1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9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Rectangle 8"/>
          <p:cNvSpPr>
            <a:spLocks noChangeArrowheads="1"/>
          </p:cNvSpPr>
          <p:nvPr userDrawn="1"/>
        </p:nvSpPr>
        <p:spPr bwMode="auto">
          <a:xfrm>
            <a:off x="831853" y="4319635"/>
            <a:ext cx="8242300" cy="5175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58" tIns="45680" rIns="91358" bIns="4568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i="1" dirty="0">
                <a:solidFill>
                  <a:srgbClr val="000000"/>
                </a:solidFill>
                <a:latin typeface="ChevinBold" pitchFamily="2" charset="0"/>
                <a:cs typeface="Arial" pitchFamily="34" charset="0"/>
              </a:rPr>
              <a:t>STRICTLY CONFIDENTIAL</a:t>
            </a:r>
            <a:endParaRPr lang="en-GB" sz="2000" i="1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90062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29916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9140" y="1049568"/>
            <a:ext cx="4720727" cy="533315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4449" y="1052522"/>
            <a:ext cx="4683625" cy="532923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42552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2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1.xml"/><Relationship Id="rId9" Type="http://schemas.openxmlformats.org/officeDocument/2006/relationships/vmlDrawing" Target="../drawings/vmlDrawing2.v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19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8.xml"/><Relationship Id="rId9" Type="http://schemas.openxmlformats.org/officeDocument/2006/relationships/vmlDrawing" Target="../drawings/vmlDrawing3.vml"/><Relationship Id="rId14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25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482746409"/>
              </p:ext>
            </p:extLst>
          </p:nvPr>
        </p:nvGraphicFramePr>
        <p:xfrm>
          <a:off x="1616" y="160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616" y="160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65102" y="6"/>
            <a:ext cx="9575800" cy="944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58" tIns="45680" rIns="91358" bIns="456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65102" y="1052522"/>
            <a:ext cx="9575800" cy="532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58" tIns="45680" rIns="91358" bIns="456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grpSp>
        <p:nvGrpSpPr>
          <p:cNvPr id="1028" name="Group 4"/>
          <p:cNvGrpSpPr>
            <a:grpSpLocks/>
          </p:cNvGrpSpPr>
          <p:nvPr/>
        </p:nvGrpSpPr>
        <p:grpSpPr bwMode="auto">
          <a:xfrm>
            <a:off x="3968753" y="6502400"/>
            <a:ext cx="1968500" cy="230188"/>
            <a:chOff x="4348" y="215"/>
            <a:chExt cx="1145" cy="145"/>
          </a:xfrm>
        </p:grpSpPr>
        <p:pic>
          <p:nvPicPr>
            <p:cNvPr id="2" name="Picture 5" descr="RMGlogo_red_copy"/>
            <p:cNvPicPr>
              <a:picLocks noChangeAspect="1" noChangeArrowheads="1"/>
            </p:cNvPicPr>
            <p:nvPr userDrawn="1"/>
          </p:nvPicPr>
          <p:blipFill>
            <a:blip r:embed="rId13" cstate="print">
              <a:lum bright="-24000" contrast="48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48" y="215"/>
              <a:ext cx="1145" cy="14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</p:pic>
        <p:pic>
          <p:nvPicPr>
            <p:cNvPr id="1033" name="Picture 6" descr="RMGlogo_red_copy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hidden">
            <a:xfrm>
              <a:off x="4348" y="216"/>
              <a:ext cx="1145" cy="14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</p:pic>
      </p:grp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3175" y="6381750"/>
            <a:ext cx="9906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58" tIns="45680" rIns="91358" bIns="4568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32" name="TextBox 11"/>
          <p:cNvSpPr txBox="1">
            <a:spLocks noChangeArrowheads="1"/>
          </p:cNvSpPr>
          <p:nvPr/>
        </p:nvSpPr>
        <p:spPr bwMode="auto">
          <a:xfrm>
            <a:off x="8723195" y="6464308"/>
            <a:ext cx="1005006" cy="307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58" tIns="45680" rIns="91358" bIns="45680">
            <a:spAutoFit/>
          </a:bodyPr>
          <a:lstStyle>
            <a:lvl1pPr>
              <a:defRPr>
                <a:solidFill>
                  <a:schemeClr val="tx1"/>
                </a:solidFill>
                <a:latin typeface="ChevinLight" pitchFamily="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hevinLight" pitchFamily="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hevinLight" pitchFamily="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hevinLight" pitchFamily="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hevinLight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3F34BD1-3262-4BDA-BB66-9520E4C79A1A}" type="slidenum">
              <a:rPr lang="en-GB" sz="1400" smtClean="0">
                <a:solidFill>
                  <a:prstClr val="black"/>
                </a:solidFill>
                <a:latin typeface="ChevinBold" pitchFamily="2" charset="0"/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400" dirty="0">
              <a:solidFill>
                <a:prstClr val="black"/>
              </a:solidFill>
              <a:latin typeface="ChevinBold" pitchFamily="2" charset="0"/>
              <a:cs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384552" y="6356397"/>
            <a:ext cx="3136900" cy="365125"/>
          </a:xfrm>
          <a:prstGeom prst="rect">
            <a:avLst/>
          </a:prstGeom>
        </p:spPr>
        <p:txBody>
          <a:bodyPr vert="horz" lIns="91358" tIns="45680" rIns="91358" bIns="4568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9191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kern="1200">
          <a:solidFill>
            <a:srgbClr val="FF0000"/>
          </a:solidFill>
          <a:latin typeface="ChevinBold" pitchFamily="2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rgbClr val="FF0000"/>
          </a:solidFill>
          <a:latin typeface="ChevinBold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rgbClr val="FF0000"/>
          </a:solidFill>
          <a:latin typeface="ChevinBold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rgbClr val="FF0000"/>
          </a:solidFill>
          <a:latin typeface="ChevinBold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rgbClr val="FF0000"/>
          </a:solidFill>
          <a:latin typeface="ChevinBold" pitchFamily="2" charset="0"/>
        </a:defRPr>
      </a:lvl5pPr>
      <a:lvl6pPr marL="456790" algn="l" rtl="0" fontAlgn="base">
        <a:spcBef>
          <a:spcPct val="0"/>
        </a:spcBef>
        <a:spcAft>
          <a:spcPct val="0"/>
        </a:spcAft>
        <a:defRPr sz="2200">
          <a:solidFill>
            <a:srgbClr val="FF0000"/>
          </a:solidFill>
          <a:latin typeface="ChevinBold" pitchFamily="2" charset="0"/>
        </a:defRPr>
      </a:lvl6pPr>
      <a:lvl7pPr marL="913582" algn="l" rtl="0" fontAlgn="base">
        <a:spcBef>
          <a:spcPct val="0"/>
        </a:spcBef>
        <a:spcAft>
          <a:spcPct val="0"/>
        </a:spcAft>
        <a:defRPr sz="2200">
          <a:solidFill>
            <a:srgbClr val="FF0000"/>
          </a:solidFill>
          <a:latin typeface="ChevinBold" pitchFamily="2" charset="0"/>
        </a:defRPr>
      </a:lvl7pPr>
      <a:lvl8pPr marL="1370375" algn="l" rtl="0" fontAlgn="base">
        <a:spcBef>
          <a:spcPct val="0"/>
        </a:spcBef>
        <a:spcAft>
          <a:spcPct val="0"/>
        </a:spcAft>
        <a:defRPr sz="2200">
          <a:solidFill>
            <a:srgbClr val="FF0000"/>
          </a:solidFill>
          <a:latin typeface="ChevinBold" pitchFamily="2" charset="0"/>
        </a:defRPr>
      </a:lvl8pPr>
      <a:lvl9pPr marL="1827167" algn="l" rtl="0" fontAlgn="base">
        <a:spcBef>
          <a:spcPct val="0"/>
        </a:spcBef>
        <a:spcAft>
          <a:spcPct val="0"/>
        </a:spcAft>
        <a:defRPr sz="2200">
          <a:solidFill>
            <a:srgbClr val="FF0000"/>
          </a:solidFill>
          <a:latin typeface="ChevinBold" pitchFamily="2" charset="0"/>
        </a:defRPr>
      </a:lvl9pPr>
    </p:titleStyle>
    <p:bodyStyle>
      <a:lvl1pPr marL="174468" indent="-174468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•"/>
        <a:defRPr sz="1400" kern="1200">
          <a:solidFill>
            <a:schemeClr val="tx1"/>
          </a:solidFill>
          <a:latin typeface="ChevinLight" pitchFamily="2" charset="0"/>
          <a:ea typeface="+mn-ea"/>
          <a:cs typeface="+mn-cs"/>
        </a:defRPr>
      </a:lvl1pPr>
      <a:lvl2pPr marL="363214" indent="-174468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Ø"/>
        <a:defRPr sz="1400" kern="1200">
          <a:solidFill>
            <a:schemeClr val="tx1"/>
          </a:solidFill>
          <a:latin typeface="ChevinLight" pitchFamily="2" charset="0"/>
          <a:ea typeface="+mn-ea"/>
          <a:cs typeface="+mn-cs"/>
        </a:defRPr>
      </a:lvl2pPr>
      <a:lvl3pPr marL="631260" indent="-228396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ChevinLight" pitchFamily="2" charset="0"/>
        <a:buChar char="‐"/>
        <a:defRPr sz="1400" kern="1200">
          <a:solidFill>
            <a:schemeClr val="tx1"/>
          </a:solidFill>
          <a:latin typeface="ChevinLight" pitchFamily="2" charset="0"/>
          <a:ea typeface="+mn-ea"/>
          <a:cs typeface="+mn-cs"/>
        </a:defRPr>
      </a:lvl3pPr>
      <a:lvl4pPr marL="1598769" indent="-228396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400" kern="1200">
          <a:solidFill>
            <a:schemeClr val="tx1"/>
          </a:solidFill>
          <a:latin typeface="ChevinLight" pitchFamily="2" charset="0"/>
          <a:ea typeface="+mn-ea"/>
          <a:cs typeface="+mn-cs"/>
        </a:defRPr>
      </a:lvl4pPr>
      <a:lvl5pPr marL="2055561" indent="-228396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400" kern="1200">
          <a:solidFill>
            <a:schemeClr val="tx1"/>
          </a:solidFill>
          <a:latin typeface="ChevinLight" pitchFamily="2" charset="0"/>
          <a:ea typeface="+mn-ea"/>
          <a:cs typeface="+mn-cs"/>
        </a:defRPr>
      </a:lvl5pPr>
      <a:lvl6pPr marL="2512354" indent="-228396" algn="l" defTabSz="9135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143" indent="-228396" algn="l" defTabSz="9135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36" indent="-228396" algn="l" defTabSz="9135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727" indent="-228396" algn="l" defTabSz="9135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5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90" algn="l" defTabSz="9135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82" algn="l" defTabSz="9135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375" algn="l" defTabSz="9135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167" algn="l" defTabSz="9135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956" algn="l" defTabSz="9135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749" algn="l" defTabSz="9135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540" algn="l" defTabSz="9135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329" algn="l" defTabSz="9135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0190986"/>
              </p:ext>
            </p:extLst>
          </p:nvPr>
        </p:nvGraphicFramePr>
        <p:xfrm>
          <a:off x="1616" y="160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5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616" y="160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65102" y="6"/>
            <a:ext cx="9575800" cy="944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58" tIns="45680" rIns="91358" bIns="456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65102" y="1052522"/>
            <a:ext cx="9575800" cy="532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58" tIns="45680" rIns="91358" bIns="456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grpSp>
        <p:nvGrpSpPr>
          <p:cNvPr id="1028" name="Group 4"/>
          <p:cNvGrpSpPr>
            <a:grpSpLocks/>
          </p:cNvGrpSpPr>
          <p:nvPr/>
        </p:nvGrpSpPr>
        <p:grpSpPr bwMode="auto">
          <a:xfrm>
            <a:off x="3968753" y="6502400"/>
            <a:ext cx="1968500" cy="230188"/>
            <a:chOff x="4348" y="215"/>
            <a:chExt cx="1145" cy="145"/>
          </a:xfrm>
        </p:grpSpPr>
        <p:pic>
          <p:nvPicPr>
            <p:cNvPr id="2" name="Picture 5" descr="RMGlogo_red_copy"/>
            <p:cNvPicPr>
              <a:picLocks noChangeAspect="1" noChangeArrowheads="1"/>
            </p:cNvPicPr>
            <p:nvPr userDrawn="1"/>
          </p:nvPicPr>
          <p:blipFill>
            <a:blip r:embed="rId13" cstate="print">
              <a:lum bright="-24000" contrast="48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48" y="215"/>
              <a:ext cx="1145" cy="14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</p:pic>
        <p:pic>
          <p:nvPicPr>
            <p:cNvPr id="1033" name="Picture 6" descr="RMGlogo_red_copy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hidden">
            <a:xfrm>
              <a:off x="4348" y="216"/>
              <a:ext cx="1145" cy="14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</p:pic>
      </p:grp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3175" y="6381750"/>
            <a:ext cx="9906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58" tIns="45680" rIns="91358" bIns="4568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32" name="TextBox 11"/>
          <p:cNvSpPr txBox="1">
            <a:spLocks noChangeArrowheads="1"/>
          </p:cNvSpPr>
          <p:nvPr/>
        </p:nvSpPr>
        <p:spPr bwMode="auto">
          <a:xfrm>
            <a:off x="9277622" y="6464309"/>
            <a:ext cx="450599" cy="307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58" tIns="45680" rIns="91358" bIns="45680">
            <a:spAutoFit/>
          </a:bodyPr>
          <a:lstStyle>
            <a:lvl1pPr>
              <a:defRPr>
                <a:solidFill>
                  <a:schemeClr val="tx1"/>
                </a:solidFill>
                <a:latin typeface="ChevinLight" pitchFamily="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hevinLight" pitchFamily="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hevinLight" pitchFamily="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hevinLight" pitchFamily="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hevinLight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3F34BD1-3262-4BDA-BB66-9520E4C79A1A}" type="slidenum">
              <a:rPr lang="en-GB" sz="1400" smtClean="0">
                <a:solidFill>
                  <a:prstClr val="black"/>
                </a:solidFill>
                <a:latin typeface="ChevinBold" pitchFamily="2" charset="0"/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400" dirty="0">
              <a:solidFill>
                <a:prstClr val="black"/>
              </a:solidFill>
              <a:latin typeface="ChevinBold" pitchFamily="2" charset="0"/>
              <a:cs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384552" y="6356397"/>
            <a:ext cx="3136900" cy="365125"/>
          </a:xfrm>
          <a:prstGeom prst="rect">
            <a:avLst/>
          </a:prstGeom>
        </p:spPr>
        <p:txBody>
          <a:bodyPr vert="horz" lIns="91358" tIns="45680" rIns="91358" bIns="4568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5076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kern="1200">
          <a:solidFill>
            <a:srgbClr val="FF0000"/>
          </a:solidFill>
          <a:latin typeface="ChevinBold" pitchFamily="2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rgbClr val="FF0000"/>
          </a:solidFill>
          <a:latin typeface="ChevinBold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rgbClr val="FF0000"/>
          </a:solidFill>
          <a:latin typeface="ChevinBold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rgbClr val="FF0000"/>
          </a:solidFill>
          <a:latin typeface="ChevinBold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rgbClr val="FF0000"/>
          </a:solidFill>
          <a:latin typeface="ChevinBold" pitchFamily="2" charset="0"/>
        </a:defRPr>
      </a:lvl5pPr>
      <a:lvl6pPr marL="456790" algn="l" rtl="0" fontAlgn="base">
        <a:spcBef>
          <a:spcPct val="0"/>
        </a:spcBef>
        <a:spcAft>
          <a:spcPct val="0"/>
        </a:spcAft>
        <a:defRPr sz="2200">
          <a:solidFill>
            <a:srgbClr val="FF0000"/>
          </a:solidFill>
          <a:latin typeface="ChevinBold" pitchFamily="2" charset="0"/>
        </a:defRPr>
      </a:lvl6pPr>
      <a:lvl7pPr marL="913582" algn="l" rtl="0" fontAlgn="base">
        <a:spcBef>
          <a:spcPct val="0"/>
        </a:spcBef>
        <a:spcAft>
          <a:spcPct val="0"/>
        </a:spcAft>
        <a:defRPr sz="2200">
          <a:solidFill>
            <a:srgbClr val="FF0000"/>
          </a:solidFill>
          <a:latin typeface="ChevinBold" pitchFamily="2" charset="0"/>
        </a:defRPr>
      </a:lvl7pPr>
      <a:lvl8pPr marL="1370375" algn="l" rtl="0" fontAlgn="base">
        <a:spcBef>
          <a:spcPct val="0"/>
        </a:spcBef>
        <a:spcAft>
          <a:spcPct val="0"/>
        </a:spcAft>
        <a:defRPr sz="2200">
          <a:solidFill>
            <a:srgbClr val="FF0000"/>
          </a:solidFill>
          <a:latin typeface="ChevinBold" pitchFamily="2" charset="0"/>
        </a:defRPr>
      </a:lvl8pPr>
      <a:lvl9pPr marL="1827167" algn="l" rtl="0" fontAlgn="base">
        <a:spcBef>
          <a:spcPct val="0"/>
        </a:spcBef>
        <a:spcAft>
          <a:spcPct val="0"/>
        </a:spcAft>
        <a:defRPr sz="2200">
          <a:solidFill>
            <a:srgbClr val="FF0000"/>
          </a:solidFill>
          <a:latin typeface="ChevinBold" pitchFamily="2" charset="0"/>
        </a:defRPr>
      </a:lvl9pPr>
    </p:titleStyle>
    <p:bodyStyle>
      <a:lvl1pPr marL="174468" indent="-174468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•"/>
        <a:defRPr sz="1400" kern="1200">
          <a:solidFill>
            <a:schemeClr val="tx1"/>
          </a:solidFill>
          <a:latin typeface="ChevinLight" pitchFamily="2" charset="0"/>
          <a:ea typeface="+mn-ea"/>
          <a:cs typeface="+mn-cs"/>
        </a:defRPr>
      </a:lvl1pPr>
      <a:lvl2pPr marL="363214" indent="-174468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Ø"/>
        <a:defRPr sz="1400" kern="1200">
          <a:solidFill>
            <a:schemeClr val="tx1"/>
          </a:solidFill>
          <a:latin typeface="ChevinLight" pitchFamily="2" charset="0"/>
          <a:ea typeface="+mn-ea"/>
          <a:cs typeface="+mn-cs"/>
        </a:defRPr>
      </a:lvl2pPr>
      <a:lvl3pPr marL="631260" indent="-228396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ChevinLight" pitchFamily="2" charset="0"/>
        <a:buChar char="‐"/>
        <a:defRPr sz="1400" kern="1200">
          <a:solidFill>
            <a:schemeClr val="tx1"/>
          </a:solidFill>
          <a:latin typeface="ChevinLight" pitchFamily="2" charset="0"/>
          <a:ea typeface="+mn-ea"/>
          <a:cs typeface="+mn-cs"/>
        </a:defRPr>
      </a:lvl3pPr>
      <a:lvl4pPr marL="1598769" indent="-228396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400" kern="1200">
          <a:solidFill>
            <a:schemeClr val="tx1"/>
          </a:solidFill>
          <a:latin typeface="ChevinLight" pitchFamily="2" charset="0"/>
          <a:ea typeface="+mn-ea"/>
          <a:cs typeface="+mn-cs"/>
        </a:defRPr>
      </a:lvl4pPr>
      <a:lvl5pPr marL="2055561" indent="-228396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400" kern="1200">
          <a:solidFill>
            <a:schemeClr val="tx1"/>
          </a:solidFill>
          <a:latin typeface="ChevinLight" pitchFamily="2" charset="0"/>
          <a:ea typeface="+mn-ea"/>
          <a:cs typeface="+mn-cs"/>
        </a:defRPr>
      </a:lvl5pPr>
      <a:lvl6pPr marL="2512354" indent="-228396" algn="l" defTabSz="9135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143" indent="-228396" algn="l" defTabSz="9135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36" indent="-228396" algn="l" defTabSz="9135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727" indent="-228396" algn="l" defTabSz="91358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5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90" algn="l" defTabSz="9135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82" algn="l" defTabSz="9135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375" algn="l" defTabSz="9135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167" algn="l" defTabSz="9135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956" algn="l" defTabSz="9135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749" algn="l" defTabSz="9135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540" algn="l" defTabSz="9135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329" algn="l" defTabSz="9135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981404438"/>
              </p:ext>
            </p:extLst>
          </p:nvPr>
        </p:nvGraphicFramePr>
        <p:xfrm>
          <a:off x="1616" y="160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1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616" y="160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65102" y="6"/>
            <a:ext cx="9575800" cy="944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191" tIns="43595" rIns="87191" bIns="4359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65102" y="1052522"/>
            <a:ext cx="9575800" cy="532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191" tIns="43595" rIns="87191" bIns="435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grpSp>
        <p:nvGrpSpPr>
          <p:cNvPr id="1028" name="Group 4"/>
          <p:cNvGrpSpPr>
            <a:grpSpLocks/>
          </p:cNvGrpSpPr>
          <p:nvPr/>
        </p:nvGrpSpPr>
        <p:grpSpPr bwMode="auto">
          <a:xfrm>
            <a:off x="3968753" y="6502400"/>
            <a:ext cx="1968500" cy="230188"/>
            <a:chOff x="4348" y="215"/>
            <a:chExt cx="1145" cy="145"/>
          </a:xfrm>
        </p:grpSpPr>
        <p:pic>
          <p:nvPicPr>
            <p:cNvPr id="2" name="Picture 5" descr="RMGlogo_red_copy"/>
            <p:cNvPicPr>
              <a:picLocks noChangeAspect="1" noChangeArrowheads="1"/>
            </p:cNvPicPr>
            <p:nvPr userDrawn="1"/>
          </p:nvPicPr>
          <p:blipFill>
            <a:blip r:embed="rId13" cstate="print">
              <a:lum bright="-24000" contrast="48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48" y="215"/>
              <a:ext cx="1145" cy="14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</p:pic>
        <p:pic>
          <p:nvPicPr>
            <p:cNvPr id="1033" name="Picture 6" descr="RMGlogo_red_copy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hidden">
            <a:xfrm>
              <a:off x="4348" y="216"/>
              <a:ext cx="1145" cy="14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</p:pic>
      </p:grp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3175" y="6381750"/>
            <a:ext cx="9906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7191" tIns="43595" rIns="87191" bIns="43595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32" name="TextBox 11"/>
          <p:cNvSpPr txBox="1">
            <a:spLocks noChangeArrowheads="1"/>
          </p:cNvSpPr>
          <p:nvPr/>
        </p:nvSpPr>
        <p:spPr bwMode="auto">
          <a:xfrm>
            <a:off x="9286038" y="6464342"/>
            <a:ext cx="442183" cy="303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7191" tIns="43595" rIns="87191" bIns="43595">
            <a:spAutoFit/>
          </a:bodyPr>
          <a:lstStyle>
            <a:lvl1pPr>
              <a:defRPr>
                <a:solidFill>
                  <a:schemeClr val="tx1"/>
                </a:solidFill>
                <a:latin typeface="ChevinLight" pitchFamily="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hevinLight" pitchFamily="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hevinLight" pitchFamily="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hevinLight" pitchFamily="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hevinLight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3F34BD1-3262-4BDA-BB66-9520E4C79A1A}" type="slidenum">
              <a:rPr lang="en-GB" sz="1400" smtClean="0">
                <a:solidFill>
                  <a:prstClr val="black"/>
                </a:solidFill>
                <a:latin typeface="ChevinBold" pitchFamily="2" charset="0"/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400" dirty="0">
              <a:solidFill>
                <a:prstClr val="black"/>
              </a:solidFill>
              <a:latin typeface="ChevinBold" pitchFamily="2" charset="0"/>
              <a:cs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384552" y="6356397"/>
            <a:ext cx="3136900" cy="365125"/>
          </a:xfrm>
          <a:prstGeom prst="rect">
            <a:avLst/>
          </a:prstGeom>
        </p:spPr>
        <p:txBody>
          <a:bodyPr vert="horz" lIns="87191" tIns="43595" rIns="87191" bIns="4359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7932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 kern="1200">
          <a:solidFill>
            <a:srgbClr val="FF0000"/>
          </a:solidFill>
          <a:latin typeface="ChevinBold" pitchFamily="2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>
          <a:solidFill>
            <a:srgbClr val="FF0000"/>
          </a:solidFill>
          <a:latin typeface="ChevinBold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>
          <a:solidFill>
            <a:srgbClr val="FF0000"/>
          </a:solidFill>
          <a:latin typeface="ChevinBold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>
          <a:solidFill>
            <a:srgbClr val="FF0000"/>
          </a:solidFill>
          <a:latin typeface="ChevinBold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>
          <a:solidFill>
            <a:srgbClr val="FF0000"/>
          </a:solidFill>
          <a:latin typeface="ChevinBold" pitchFamily="2" charset="0"/>
        </a:defRPr>
      </a:lvl5pPr>
      <a:lvl6pPr marL="435954" algn="l" rtl="0" fontAlgn="base">
        <a:spcBef>
          <a:spcPct val="0"/>
        </a:spcBef>
        <a:spcAft>
          <a:spcPct val="0"/>
        </a:spcAft>
        <a:defRPr sz="2100">
          <a:solidFill>
            <a:srgbClr val="FF0000"/>
          </a:solidFill>
          <a:latin typeface="ChevinBold" pitchFamily="2" charset="0"/>
        </a:defRPr>
      </a:lvl6pPr>
      <a:lvl7pPr marL="871910" algn="l" rtl="0" fontAlgn="base">
        <a:spcBef>
          <a:spcPct val="0"/>
        </a:spcBef>
        <a:spcAft>
          <a:spcPct val="0"/>
        </a:spcAft>
        <a:defRPr sz="2100">
          <a:solidFill>
            <a:srgbClr val="FF0000"/>
          </a:solidFill>
          <a:latin typeface="ChevinBold" pitchFamily="2" charset="0"/>
        </a:defRPr>
      </a:lvl7pPr>
      <a:lvl8pPr marL="1307865" algn="l" rtl="0" fontAlgn="base">
        <a:spcBef>
          <a:spcPct val="0"/>
        </a:spcBef>
        <a:spcAft>
          <a:spcPct val="0"/>
        </a:spcAft>
        <a:defRPr sz="2100">
          <a:solidFill>
            <a:srgbClr val="FF0000"/>
          </a:solidFill>
          <a:latin typeface="ChevinBold" pitchFamily="2" charset="0"/>
        </a:defRPr>
      </a:lvl8pPr>
      <a:lvl9pPr marL="1743819" algn="l" rtl="0" fontAlgn="base">
        <a:spcBef>
          <a:spcPct val="0"/>
        </a:spcBef>
        <a:spcAft>
          <a:spcPct val="0"/>
        </a:spcAft>
        <a:defRPr sz="2100">
          <a:solidFill>
            <a:srgbClr val="FF0000"/>
          </a:solidFill>
          <a:latin typeface="ChevinBold" pitchFamily="2" charset="0"/>
        </a:defRPr>
      </a:lvl9pPr>
    </p:titleStyle>
    <p:bodyStyle>
      <a:lvl1pPr marL="166511" indent="-166511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•"/>
        <a:defRPr sz="1400" kern="1200">
          <a:solidFill>
            <a:schemeClr val="tx1"/>
          </a:solidFill>
          <a:latin typeface="ChevinLight" pitchFamily="2" charset="0"/>
          <a:ea typeface="+mn-ea"/>
          <a:cs typeface="+mn-cs"/>
        </a:defRPr>
      </a:lvl1pPr>
      <a:lvl2pPr marL="346646" indent="-166511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Ø"/>
        <a:defRPr sz="1400" kern="1200">
          <a:solidFill>
            <a:schemeClr val="tx1"/>
          </a:solidFill>
          <a:latin typeface="ChevinLight" pitchFamily="2" charset="0"/>
          <a:ea typeface="+mn-ea"/>
          <a:cs typeface="+mn-cs"/>
        </a:defRPr>
      </a:lvl2pPr>
      <a:lvl3pPr marL="602467" indent="-217977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ChevinLight" pitchFamily="2" charset="0"/>
        <a:buChar char="‐"/>
        <a:defRPr sz="1400" kern="1200">
          <a:solidFill>
            <a:schemeClr val="tx1"/>
          </a:solidFill>
          <a:latin typeface="ChevinLight" pitchFamily="2" charset="0"/>
          <a:ea typeface="+mn-ea"/>
          <a:cs typeface="+mn-cs"/>
        </a:defRPr>
      </a:lvl3pPr>
      <a:lvl4pPr marL="1525842" indent="-217977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400" kern="1200">
          <a:solidFill>
            <a:schemeClr val="tx1"/>
          </a:solidFill>
          <a:latin typeface="ChevinLight" pitchFamily="2" charset="0"/>
          <a:ea typeface="+mn-ea"/>
          <a:cs typeface="+mn-cs"/>
        </a:defRPr>
      </a:lvl4pPr>
      <a:lvl5pPr marL="1961798" indent="-217977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400" kern="1200">
          <a:solidFill>
            <a:schemeClr val="tx1"/>
          </a:solidFill>
          <a:latin typeface="ChevinLight" pitchFamily="2" charset="0"/>
          <a:ea typeface="+mn-ea"/>
          <a:cs typeface="+mn-cs"/>
        </a:defRPr>
      </a:lvl5pPr>
      <a:lvl6pPr marL="2397753" indent="-217977" algn="l" defTabSz="871910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33708" indent="-217977" algn="l" defTabSz="871910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69664" indent="-217977" algn="l" defTabSz="871910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05618" indent="-217977" algn="l" defTabSz="871910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191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5954" algn="l" defTabSz="87191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1910" algn="l" defTabSz="87191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07865" algn="l" defTabSz="87191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43819" algn="l" defTabSz="87191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79777" algn="l" defTabSz="87191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15730" algn="l" defTabSz="87191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51688" algn="l" defTabSz="87191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640" algn="l" defTabSz="87191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306" y="280108"/>
            <a:ext cx="9003110" cy="9886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</a:t>
            </a:r>
            <a:br>
              <a:rPr lang="en-GB" dirty="0"/>
            </a:br>
            <a:r>
              <a:rPr lang="en-GB" dirty="0"/>
              <a:t>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306" y="1441593"/>
            <a:ext cx="9003108" cy="426071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GB" dirty="0"/>
              <a:t>Click to edit Master text styles 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Line 12"/>
          <p:cNvSpPr>
            <a:spLocks noChangeShapeType="1"/>
          </p:cNvSpPr>
          <p:nvPr/>
        </p:nvSpPr>
        <p:spPr bwMode="auto">
          <a:xfrm>
            <a:off x="0" y="5823224"/>
            <a:ext cx="9906000" cy="0"/>
          </a:xfrm>
          <a:prstGeom prst="line">
            <a:avLst/>
          </a:prstGeom>
          <a:noFill/>
          <a:ln w="57150">
            <a:solidFill>
              <a:srgbClr val="DA202A"/>
            </a:solidFill>
            <a:round/>
            <a:headEnd/>
            <a:tailEnd/>
          </a:ln>
          <a:effectLst/>
        </p:spPr>
        <p:txBody>
          <a:bodyPr lIns="91390" tIns="45696" rIns="91390" bIns="45696"/>
          <a:lstStyle/>
          <a:p>
            <a:pPr defTabSz="913905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extBox 3" descr="CONFIDENTIAL_TAG_0xFFEE"/>
          <p:cNvSpPr txBox="1"/>
          <p:nvPr/>
        </p:nvSpPr>
        <p:spPr>
          <a:xfrm>
            <a:off x="359090" y="6110356"/>
            <a:ext cx="3455661" cy="276950"/>
          </a:xfrm>
          <a:prstGeom prst="rect">
            <a:avLst/>
          </a:prstGeom>
          <a:noFill/>
        </p:spPr>
        <p:txBody>
          <a:bodyPr vert="horz" lIns="91390" tIns="45696" rIns="91390" bIns="45696" rtlCol="0">
            <a:spAutoFit/>
          </a:bodyPr>
          <a:lstStyle/>
          <a:p>
            <a:pPr defTabSz="913905"/>
            <a:endParaRPr lang="en-GB" sz="1200" dirty="0">
              <a:solidFill>
                <a:srgbClr val="666666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6745" y="6110386"/>
            <a:ext cx="784763" cy="48415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4003577" y="6321977"/>
            <a:ext cx="1745890" cy="261562"/>
          </a:xfrm>
          <a:prstGeom prst="rect">
            <a:avLst/>
          </a:prstGeom>
          <a:noFill/>
        </p:spPr>
        <p:txBody>
          <a:bodyPr wrap="none" lIns="91390" tIns="45696" rIns="91390" bIns="45696" rtlCol="0">
            <a:spAutoFit/>
          </a:bodyPr>
          <a:lstStyle/>
          <a:p>
            <a:pPr algn="ctr" defTabSz="913905"/>
            <a:r>
              <a:rPr lang="en-US" sz="11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 STRICTEST CONFIDENCE</a:t>
            </a:r>
          </a:p>
        </p:txBody>
      </p:sp>
      <p:sp>
        <p:nvSpPr>
          <p:cNvPr id="9" name="TextBox 11"/>
          <p:cNvSpPr txBox="1">
            <a:spLocks noChangeArrowheads="1"/>
          </p:cNvSpPr>
          <p:nvPr userDrawn="1"/>
        </p:nvSpPr>
        <p:spPr bwMode="auto">
          <a:xfrm>
            <a:off x="359070" y="6298909"/>
            <a:ext cx="1005006" cy="307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58" tIns="45680" rIns="91358" bIns="45680">
            <a:spAutoFit/>
          </a:bodyPr>
          <a:lstStyle>
            <a:lvl1pPr>
              <a:defRPr>
                <a:solidFill>
                  <a:schemeClr val="tx1"/>
                </a:solidFill>
                <a:latin typeface="ChevinLight" pitchFamily="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hevinLight" pitchFamily="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hevinLight" pitchFamily="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hevinLight" pitchFamily="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hevinLight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  <a:defRPr/>
            </a:pPr>
            <a:fld id="{23F34BD1-3262-4BDA-BB66-9520E4C79A1A}" type="slidenum">
              <a:rPr lang="en-GB" sz="1400" smtClean="0">
                <a:solidFill>
                  <a:prstClr val="black"/>
                </a:solidFill>
                <a:latin typeface="ChevinBold" pitchFamily="2" charset="0"/>
                <a:cs typeface="Arial" charset="0"/>
              </a:rPr>
              <a:pPr algn="l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400" dirty="0">
              <a:solidFill>
                <a:prstClr val="black"/>
              </a:solidFill>
              <a:latin typeface="ChevinBold" pitchFamily="2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4206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</p:sldLayoutIdLst>
  <p:hf hdr="0" ftr="0" dt="0"/>
  <p:txStyles>
    <p:titleStyle>
      <a:lvl1pPr algn="l" defTabSz="913905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DA202A"/>
          </a:solidFill>
          <a:latin typeface="Arial" pitchFamily="34" charset="0"/>
          <a:ea typeface="+mj-ea"/>
          <a:cs typeface="+mj-cs"/>
        </a:defRPr>
      </a:lvl1pPr>
    </p:titleStyle>
    <p:bodyStyle>
      <a:lvl1pPr marL="277663" indent="-277663" algn="l" defTabSz="913905" rtl="0" eaLnBrk="1" latinLnBrk="0" hangingPunct="1">
        <a:spcBef>
          <a:spcPct val="20000"/>
        </a:spcBef>
        <a:buClr>
          <a:srgbClr val="DA202A"/>
        </a:buClr>
        <a:buFont typeface="Verdana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447433" indent="0" algn="l" defTabSz="913905" rtl="0" eaLnBrk="1" latinLnBrk="0" hangingPunct="1">
        <a:spcBef>
          <a:spcPct val="20000"/>
        </a:spcBef>
        <a:buFontTx/>
        <a:buNone/>
        <a:defRPr sz="2000" kern="1200">
          <a:solidFill>
            <a:schemeClr val="tx2"/>
          </a:solidFill>
          <a:latin typeface="Arial" pitchFamily="34" charset="0"/>
          <a:ea typeface="+mn-ea"/>
          <a:cs typeface="+mn-cs"/>
        </a:defRPr>
      </a:lvl2pPr>
      <a:lvl3pPr marL="996410" indent="-185638" algn="l" defTabSz="913905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358165" indent="-180877" algn="l" defTabSz="913905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>
              <a:lumMod val="65000"/>
              <a:lumOff val="35000"/>
            </a:schemeClr>
          </a:solidFill>
          <a:latin typeface="Arial" pitchFamily="34" charset="0"/>
          <a:ea typeface="+mn-ea"/>
          <a:cs typeface="+mn-cs"/>
        </a:defRPr>
      </a:lvl4pPr>
      <a:lvl5pPr marL="1724680" indent="-185638" algn="l" defTabSz="913905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>
              <a:lumMod val="65000"/>
              <a:lumOff val="35000"/>
            </a:schemeClr>
          </a:solidFill>
          <a:latin typeface="Arial" pitchFamily="34" charset="0"/>
          <a:ea typeface="+mn-ea"/>
          <a:cs typeface="+mn-cs"/>
        </a:defRPr>
      </a:lvl5pPr>
      <a:lvl6pPr marL="2513240" indent="-228476" algn="l" defTabSz="9139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192" indent="-228476" algn="l" defTabSz="9139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46" indent="-228476" algn="l" defTabSz="9139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098" indent="-228476" algn="l" defTabSz="91390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52" algn="l" defTabSz="9139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05" algn="l" defTabSz="9139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59" algn="l" defTabSz="9139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10" algn="l" defTabSz="9139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64" algn="l" defTabSz="9139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17" algn="l" defTabSz="9139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669" algn="l" defTabSz="9139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21" algn="l" defTabSz="91390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" y="122238"/>
            <a:ext cx="9890522" cy="67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82" tIns="47891" rIns="95782" bIns="4789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71475" y="927102"/>
            <a:ext cx="9163050" cy="5211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82" tIns="47891" rIns="95782" bIns="4789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28" name="AutoShape 4"/>
          <p:cNvSpPr>
            <a:spLocks noChangeArrowheads="1"/>
          </p:cNvSpPr>
          <p:nvPr/>
        </p:nvSpPr>
        <p:spPr bwMode="auto">
          <a:xfrm>
            <a:off x="245935" y="774700"/>
            <a:ext cx="9415859" cy="5373688"/>
          </a:xfrm>
          <a:prstGeom prst="roundRect">
            <a:avLst>
              <a:gd name="adj" fmla="val 1505"/>
            </a:avLst>
          </a:prstGeom>
          <a:noFill/>
          <a:ln w="9525" algn="ctr">
            <a:solidFill>
              <a:srgbClr val="C0C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80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2" tIns="47891" rIns="95782" bIns="47891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029" name="Line 6"/>
          <p:cNvSpPr>
            <a:spLocks noChangeShapeType="1"/>
          </p:cNvSpPr>
          <p:nvPr/>
        </p:nvSpPr>
        <p:spPr bwMode="auto">
          <a:xfrm>
            <a:off x="0" y="6248400"/>
            <a:ext cx="9906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5782" tIns="47891" rIns="95782" bIns="47891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1030" name="Picture 7" descr="Logotype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00" y="6415088"/>
            <a:ext cx="2022475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Text Box 7"/>
          <p:cNvSpPr txBox="1">
            <a:spLocks noChangeArrowheads="1"/>
          </p:cNvSpPr>
          <p:nvPr/>
        </p:nvSpPr>
        <p:spPr bwMode="auto">
          <a:xfrm>
            <a:off x="503900" y="1"/>
            <a:ext cx="9206044" cy="257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800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714" tIns="47857" rIns="95714" bIns="47857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100" dirty="0">
                <a:solidFill>
                  <a:srgbClr val="FF0000"/>
                </a:solidFill>
                <a:latin typeface="ChevinLight" pitchFamily="2" charset="0"/>
                <a:cs typeface="Arial" charset="0"/>
              </a:rPr>
              <a:t>		             			</a:t>
            </a:r>
            <a:r>
              <a:rPr lang="en-GB" sz="1100" b="0" dirty="0">
                <a:solidFill>
                  <a:srgbClr val="FF0000"/>
                </a:solidFill>
                <a:latin typeface="ChevinBold" pitchFamily="2" charset="0"/>
                <a:cs typeface="Arial" charset="0"/>
              </a:rPr>
              <a:t>Strictly Confidential</a:t>
            </a:r>
          </a:p>
        </p:txBody>
      </p:sp>
      <p:sp>
        <p:nvSpPr>
          <p:cNvPr id="3584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67083" y="6372225"/>
            <a:ext cx="2311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82" tIns="47891" rIns="95782" bIns="47891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500" b="0">
                <a:latin typeface="+mj-lt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2B040D97-034E-4417-A134-38FB59763737}" type="slidenum">
              <a:rPr lang="en-GB">
                <a:solidFill>
                  <a:prstClr val="black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1888331" y="6391302"/>
            <a:ext cx="350838" cy="2571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2" tIns="47891" rIns="95782" bIns="47891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6765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hevinBold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hevinBold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hevinBold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hevinBold" pitchFamily="2" charset="0"/>
        </a:defRPr>
      </a:lvl5pPr>
      <a:lvl6pPr marL="478908" algn="l" rtl="0" fontAlgn="base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hevinBold" pitchFamily="2" charset="0"/>
        </a:defRPr>
      </a:lvl6pPr>
      <a:lvl7pPr marL="957816" algn="l" rtl="0" fontAlgn="base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hevinBold" pitchFamily="2" charset="0"/>
        </a:defRPr>
      </a:lvl7pPr>
      <a:lvl8pPr marL="1436724" algn="l" rtl="0" fontAlgn="base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hevinBold" pitchFamily="2" charset="0"/>
        </a:defRPr>
      </a:lvl8pPr>
      <a:lvl9pPr marL="1915631" algn="l" rtl="0" fontAlgn="base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hevinBold" pitchFamily="2" charset="0"/>
        </a:defRPr>
      </a:lvl9pPr>
    </p:titleStyle>
    <p:bodyStyle>
      <a:lvl1pPr marL="359181" indent="-359181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defRPr sz="1500">
          <a:solidFill>
            <a:schemeClr val="tx1"/>
          </a:solidFill>
          <a:latin typeface="+mj-lt"/>
          <a:ea typeface="+mn-ea"/>
          <a:cs typeface="+mn-cs"/>
        </a:defRPr>
      </a:lvl1pPr>
      <a:lvl2pPr marL="372484" indent="-184579" algn="l" rtl="0" eaLnBrk="0" fontAlgn="base" hangingPunct="0">
        <a:spcBef>
          <a:spcPct val="30000"/>
        </a:spcBef>
        <a:spcAft>
          <a:spcPct val="10000"/>
        </a:spcAft>
        <a:buClr>
          <a:srgbClr val="FF0000"/>
        </a:buClr>
        <a:buFont typeface="Wingdings" pitchFamily="2" charset="2"/>
        <a:buChar char="§"/>
        <a:defRPr sz="1300">
          <a:solidFill>
            <a:schemeClr val="tx1"/>
          </a:solidFill>
          <a:latin typeface="+mn-lt"/>
        </a:defRPr>
      </a:lvl2pPr>
      <a:lvl3pPr marL="758271" indent="-197882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□"/>
        <a:defRPr sz="1300">
          <a:solidFill>
            <a:schemeClr val="tx1"/>
          </a:solidFill>
          <a:latin typeface="+mn-lt"/>
        </a:defRPr>
      </a:lvl3pPr>
      <a:lvl4pPr marL="1130755" indent="-184579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Char char="•"/>
        <a:defRPr sz="1000">
          <a:solidFill>
            <a:schemeClr val="tx1"/>
          </a:solidFill>
          <a:latin typeface="+mn-lt"/>
        </a:defRPr>
      </a:lvl4pPr>
      <a:lvl5pPr marL="1503239" indent="-184579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»"/>
        <a:defRPr sz="1000">
          <a:solidFill>
            <a:schemeClr val="tx1"/>
          </a:solidFill>
          <a:latin typeface="+mn-lt"/>
        </a:defRPr>
      </a:lvl5pPr>
      <a:lvl6pPr marL="1982146" indent="-184579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»"/>
        <a:defRPr sz="1000">
          <a:solidFill>
            <a:schemeClr val="tx1"/>
          </a:solidFill>
          <a:latin typeface="+mn-lt"/>
        </a:defRPr>
      </a:lvl6pPr>
      <a:lvl7pPr marL="2461054" indent="-184579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»"/>
        <a:defRPr sz="1000">
          <a:solidFill>
            <a:schemeClr val="tx1"/>
          </a:solidFill>
          <a:latin typeface="+mn-lt"/>
        </a:defRPr>
      </a:lvl7pPr>
      <a:lvl8pPr marL="2939962" indent="-184579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»"/>
        <a:defRPr sz="1000">
          <a:solidFill>
            <a:schemeClr val="tx1"/>
          </a:solidFill>
          <a:latin typeface="+mn-lt"/>
        </a:defRPr>
      </a:lvl8pPr>
      <a:lvl9pPr marL="3418870" indent="-184579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08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816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724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631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39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447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355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263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" y="122238"/>
            <a:ext cx="9890522" cy="67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82" tIns="47891" rIns="95782" bIns="4789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71475" y="927102"/>
            <a:ext cx="9163050" cy="5211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82" tIns="47891" rIns="95782" bIns="4789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28" name="AutoShape 4"/>
          <p:cNvSpPr>
            <a:spLocks noChangeArrowheads="1"/>
          </p:cNvSpPr>
          <p:nvPr/>
        </p:nvSpPr>
        <p:spPr bwMode="auto">
          <a:xfrm>
            <a:off x="245935" y="774700"/>
            <a:ext cx="9415859" cy="5373688"/>
          </a:xfrm>
          <a:prstGeom prst="roundRect">
            <a:avLst>
              <a:gd name="adj" fmla="val 1505"/>
            </a:avLst>
          </a:prstGeom>
          <a:noFill/>
          <a:ln w="9525" algn="ctr">
            <a:solidFill>
              <a:srgbClr val="C0C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80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2" tIns="47891" rIns="95782" bIns="47891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029" name="Line 6"/>
          <p:cNvSpPr>
            <a:spLocks noChangeShapeType="1"/>
          </p:cNvSpPr>
          <p:nvPr/>
        </p:nvSpPr>
        <p:spPr bwMode="auto">
          <a:xfrm>
            <a:off x="0" y="6248400"/>
            <a:ext cx="9906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5782" tIns="47891" rIns="95782" bIns="47891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1030" name="Picture 7" descr="Logotype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00" y="6415088"/>
            <a:ext cx="2022475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Text Box 7"/>
          <p:cNvSpPr txBox="1">
            <a:spLocks noChangeArrowheads="1"/>
          </p:cNvSpPr>
          <p:nvPr/>
        </p:nvSpPr>
        <p:spPr bwMode="auto">
          <a:xfrm>
            <a:off x="503900" y="1"/>
            <a:ext cx="9206044" cy="257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800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5714" tIns="47857" rIns="95714" bIns="47857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100" dirty="0">
                <a:solidFill>
                  <a:srgbClr val="FF0000"/>
                </a:solidFill>
                <a:latin typeface="ChevinLight" pitchFamily="2" charset="0"/>
                <a:cs typeface="Arial" charset="0"/>
              </a:rPr>
              <a:t>		             			</a:t>
            </a:r>
            <a:r>
              <a:rPr lang="en-GB" sz="1100" b="0" dirty="0">
                <a:solidFill>
                  <a:srgbClr val="FF0000"/>
                </a:solidFill>
                <a:latin typeface="ChevinBold" pitchFamily="2" charset="0"/>
                <a:cs typeface="Arial" charset="0"/>
              </a:rPr>
              <a:t>Strictly Confidential</a:t>
            </a:r>
          </a:p>
        </p:txBody>
      </p:sp>
      <p:sp>
        <p:nvSpPr>
          <p:cNvPr id="3584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67083" y="6372225"/>
            <a:ext cx="2311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82" tIns="47891" rIns="95782" bIns="47891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500" b="0">
                <a:latin typeface="+mj-lt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2B040D97-034E-4417-A134-38FB59763737}" type="slidenum">
              <a:rPr lang="en-GB">
                <a:solidFill>
                  <a:prstClr val="black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1888331" y="6391292"/>
            <a:ext cx="350838" cy="2571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2" tIns="47891" rIns="95782" bIns="47891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9705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hevinBold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hevinBold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hevinBold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hevinBold" pitchFamily="2" charset="0"/>
        </a:defRPr>
      </a:lvl5pPr>
      <a:lvl6pPr marL="478908" algn="l" rtl="0" fontAlgn="base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hevinBold" pitchFamily="2" charset="0"/>
        </a:defRPr>
      </a:lvl6pPr>
      <a:lvl7pPr marL="957816" algn="l" rtl="0" fontAlgn="base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hevinBold" pitchFamily="2" charset="0"/>
        </a:defRPr>
      </a:lvl7pPr>
      <a:lvl8pPr marL="1436724" algn="l" rtl="0" fontAlgn="base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hevinBold" pitchFamily="2" charset="0"/>
        </a:defRPr>
      </a:lvl8pPr>
      <a:lvl9pPr marL="1915631" algn="l" rtl="0" fontAlgn="base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ChevinBold" pitchFamily="2" charset="0"/>
        </a:defRPr>
      </a:lvl9pPr>
    </p:titleStyle>
    <p:bodyStyle>
      <a:lvl1pPr marL="359181" indent="-359181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defRPr sz="1500">
          <a:solidFill>
            <a:schemeClr val="tx1"/>
          </a:solidFill>
          <a:latin typeface="+mj-lt"/>
          <a:ea typeface="+mn-ea"/>
          <a:cs typeface="+mn-cs"/>
        </a:defRPr>
      </a:lvl1pPr>
      <a:lvl2pPr marL="372484" indent="-184579" algn="l" rtl="0" eaLnBrk="0" fontAlgn="base" hangingPunct="0">
        <a:spcBef>
          <a:spcPct val="30000"/>
        </a:spcBef>
        <a:spcAft>
          <a:spcPct val="10000"/>
        </a:spcAft>
        <a:buClr>
          <a:srgbClr val="FF0000"/>
        </a:buClr>
        <a:buFont typeface="Wingdings" pitchFamily="2" charset="2"/>
        <a:buChar char="§"/>
        <a:defRPr sz="1300">
          <a:solidFill>
            <a:schemeClr val="tx1"/>
          </a:solidFill>
          <a:latin typeface="+mn-lt"/>
        </a:defRPr>
      </a:lvl2pPr>
      <a:lvl3pPr marL="758271" indent="-197882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□"/>
        <a:defRPr sz="1300">
          <a:solidFill>
            <a:schemeClr val="tx1"/>
          </a:solidFill>
          <a:latin typeface="+mn-lt"/>
        </a:defRPr>
      </a:lvl3pPr>
      <a:lvl4pPr marL="1130755" indent="-184579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Char char="•"/>
        <a:defRPr sz="1000">
          <a:solidFill>
            <a:schemeClr val="tx1"/>
          </a:solidFill>
          <a:latin typeface="+mn-lt"/>
        </a:defRPr>
      </a:lvl4pPr>
      <a:lvl5pPr marL="1503239" indent="-184579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»"/>
        <a:defRPr sz="1000">
          <a:solidFill>
            <a:schemeClr val="tx1"/>
          </a:solidFill>
          <a:latin typeface="+mn-lt"/>
        </a:defRPr>
      </a:lvl5pPr>
      <a:lvl6pPr marL="1982146" indent="-184579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»"/>
        <a:defRPr sz="1000">
          <a:solidFill>
            <a:schemeClr val="tx1"/>
          </a:solidFill>
          <a:latin typeface="+mn-lt"/>
        </a:defRPr>
      </a:lvl6pPr>
      <a:lvl7pPr marL="2461054" indent="-184579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»"/>
        <a:defRPr sz="1000">
          <a:solidFill>
            <a:schemeClr val="tx1"/>
          </a:solidFill>
          <a:latin typeface="+mn-lt"/>
        </a:defRPr>
      </a:lvl7pPr>
      <a:lvl8pPr marL="2939962" indent="-184579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»"/>
        <a:defRPr sz="1000">
          <a:solidFill>
            <a:schemeClr val="tx1"/>
          </a:solidFill>
          <a:latin typeface="+mn-lt"/>
        </a:defRPr>
      </a:lvl8pPr>
      <a:lvl9pPr marL="3418870" indent="-184579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charset="0"/>
        <a:buChar char="»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08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816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724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631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39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447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355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263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5613235-6093-4F25-BF1D-640127C7D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sz="3200" dirty="0"/>
              <a:t>Dog Awareness Week 2019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xmlns="" id="{D89734D5-EF1A-40B2-BBF9-4A9ADF99FD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2740" y="1636871"/>
            <a:ext cx="4160520" cy="4160520"/>
          </a:xfrm>
        </p:spPr>
      </p:pic>
    </p:spTree>
    <p:extLst>
      <p:ext uri="{BB962C8B-B14F-4D97-AF65-F5344CB8AC3E}">
        <p14:creationId xmlns:p14="http://schemas.microsoft.com/office/powerpoint/2010/main" val="6579294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nal Communications - AVOI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307" y="1039803"/>
            <a:ext cx="9003109" cy="4260715"/>
          </a:xfrm>
        </p:spPr>
        <p:txBody>
          <a:bodyPr>
            <a:normAutofit fontScale="62500" lnSpcReduction="20000"/>
          </a:bodyPr>
          <a:lstStyle/>
          <a:p>
            <a:r>
              <a:rPr lang="en-GB" b="1" dirty="0"/>
              <a:t>A is for </a:t>
            </a:r>
            <a:r>
              <a:rPr lang="en-GB" b="1" u="sng" dirty="0"/>
              <a:t>AVOID</a:t>
            </a:r>
            <a:endParaRPr lang="en-GB" dirty="0"/>
          </a:p>
          <a:p>
            <a:r>
              <a:rPr lang="en-GB" dirty="0"/>
              <a:t>Do not take and use dog biscuits, these attract dogs to you.  If there is a dog at large and you have to return mail back to the delivery office, you can endorse the mail using a P6705 Sticker.</a:t>
            </a:r>
          </a:p>
          <a:p>
            <a:r>
              <a:rPr lang="en-GB" b="1" dirty="0"/>
              <a:t>V is for-</a:t>
            </a:r>
            <a:r>
              <a:rPr lang="en-GB" b="1" u="sng" dirty="0"/>
              <a:t> Value Yourself</a:t>
            </a:r>
            <a:endParaRPr lang="en-GB" dirty="0"/>
          </a:p>
          <a:p>
            <a:r>
              <a:rPr lang="en-GB" dirty="0"/>
              <a:t>It really could happen to you.  In the last financial year there were 2660 dog bites reported. That is over 8 each day.  Most people are bitten by a dog they already know.  Do not think to yourself “Dogs like me” or “I will be OK”.  Do not become a statistic; your health is more important than any need to come into contact with a dog.  </a:t>
            </a:r>
            <a:r>
              <a:rPr lang="en-GB" b="1" dirty="0"/>
              <a:t>Value yourself</a:t>
            </a:r>
            <a:r>
              <a:rPr lang="en-GB" dirty="0"/>
              <a:t>.  Follow these key messages.</a:t>
            </a:r>
          </a:p>
          <a:p>
            <a:r>
              <a:rPr lang="en-GB" b="1" dirty="0"/>
              <a:t>O is for </a:t>
            </a:r>
            <a:r>
              <a:rPr lang="en-GB" b="1" u="sng" dirty="0"/>
              <a:t>OBSERVE</a:t>
            </a:r>
            <a:endParaRPr lang="en-GB" dirty="0"/>
          </a:p>
          <a:p>
            <a:r>
              <a:rPr lang="en-GB" dirty="0"/>
              <a:t>Walk Logs are a guide for the post person to know what his/her duty consists of and some key features to help them to do that walk safely, securely and effectively.  A hard copy Walk Log must be kept on every Delivery Preparation Frame and updated frequently.  </a:t>
            </a:r>
          </a:p>
          <a:p>
            <a:r>
              <a:rPr lang="en-GB" dirty="0"/>
              <a:t>A key point is that Walk Logs must not be overloaded.  If there is too much in them, they won’t be used.</a:t>
            </a:r>
          </a:p>
          <a:p>
            <a:r>
              <a:rPr lang="en-GB" b="1" dirty="0"/>
              <a:t>I is for </a:t>
            </a:r>
            <a:r>
              <a:rPr lang="en-GB" b="1" u="sng" dirty="0"/>
              <a:t>INFORM  </a:t>
            </a:r>
          </a:p>
          <a:p>
            <a:r>
              <a:rPr lang="en-GB" dirty="0"/>
              <a:t>Mark your frames with a yellow sticker where there is a dog hazard - this will protect your colleagues</a:t>
            </a:r>
          </a:p>
          <a:p>
            <a:r>
              <a:rPr lang="en-GB" b="1" dirty="0"/>
              <a:t>D is for </a:t>
            </a:r>
            <a:r>
              <a:rPr lang="en-GB" b="1" u="sng" dirty="0"/>
              <a:t>DEFEND</a:t>
            </a:r>
          </a:p>
          <a:p>
            <a:r>
              <a:rPr lang="en-GB" dirty="0"/>
              <a:t>If required, defend against a dog bite by using your delivery equipment, such as your pouch or trolley, to create a barrier between you and the dog. Most bites occur on the limbs, so wearing long trousers and sleeves can help protect from serious injury</a:t>
            </a:r>
            <a:r>
              <a:rPr lang="en-GB" sz="1800" dirty="0"/>
              <a:t>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754645" y="6308047"/>
            <a:ext cx="5628524" cy="225830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452306" y="6308047"/>
            <a:ext cx="1013280" cy="241002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82004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nagers Daily Task List</a:t>
            </a:r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759" y="1390650"/>
            <a:ext cx="3019669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7798" y="1397000"/>
            <a:ext cx="3103212" cy="424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56386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/>
              <a:t>Campaign Board in uni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799256" y="6324600"/>
            <a:ext cx="2065469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81AA089-249D-4FB4-97AB-2DF3DCBC201A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pic>
        <p:nvPicPr>
          <p:cNvPr id="2150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41231" y="1268413"/>
            <a:ext cx="8672909" cy="42481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00782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/>
              <a:t>What else can be done</a:t>
            </a:r>
          </a:p>
        </p:txBody>
      </p:sp>
      <p:sp>
        <p:nvSpPr>
          <p:cNvPr id="2867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altLang="en-US" sz="2400" dirty="0"/>
              <a:t>Dog Warden involvement &amp; partnership </a:t>
            </a:r>
          </a:p>
          <a:p>
            <a:r>
              <a:rPr lang="en-GB" altLang="en-US" sz="2400" dirty="0"/>
              <a:t>Letters to Schools available on the Share point for managers to use</a:t>
            </a:r>
          </a:p>
          <a:p>
            <a:r>
              <a:rPr lang="en-GB" altLang="en-US" sz="2400" dirty="0"/>
              <a:t>Copies of posters sent to units to be put on the share point so that extra copies can be printed and shared with local businesses, doctors surgeries, vets etc</a:t>
            </a:r>
          </a:p>
          <a:p>
            <a:r>
              <a:rPr lang="en-GB" altLang="en-US" dirty="0"/>
              <a:t>An ASR checklist has been produced for CWU and CMA and will be sent out by Dave Joyce and Stephen Jones respectively to request their involvement with the week.</a:t>
            </a:r>
            <a:endParaRPr lang="en-GB" altLang="en-US" sz="2400" dirty="0"/>
          </a:p>
          <a:p>
            <a:endParaRPr lang="en-GB" altLang="en-US" dirty="0"/>
          </a:p>
          <a:p>
            <a:endParaRPr lang="en-GB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799256" y="6324600"/>
            <a:ext cx="2065469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C4D5EA1-DF9A-423D-AE87-A2DB41186ACC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47200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else are we do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>
              <a:lnSpc>
                <a:spcPct val="150000"/>
              </a:lnSpc>
            </a:pPr>
            <a:r>
              <a:rPr lang="en-GB" dirty="0"/>
              <a:t>There will be an indica on all mail during the week to raise the profile of the week with members of the public</a:t>
            </a:r>
          </a:p>
          <a:p>
            <a:pPr>
              <a:lnSpc>
                <a:spcPct val="150000"/>
              </a:lnSpc>
            </a:pPr>
            <a:r>
              <a:rPr lang="en-GB" dirty="0"/>
              <a:t>Social Media channels will be used encourage responsible dog ownership</a:t>
            </a:r>
          </a:p>
          <a:p>
            <a:pPr>
              <a:lnSpc>
                <a:spcPct val="150000"/>
              </a:lnSpc>
            </a:pPr>
            <a:r>
              <a:rPr lang="en-GB" dirty="0"/>
              <a:t>External Comms are working with press agencies to raise the profile of the week and we will be using employee cases studies to get that press coverage</a:t>
            </a:r>
          </a:p>
          <a:p>
            <a:pPr>
              <a:lnSpc>
                <a:spcPct val="150000"/>
              </a:lnSpc>
            </a:pPr>
            <a:r>
              <a:rPr lang="en-GB" dirty="0"/>
              <a:t>Press Briefing Pack will be available for anyone asked to take part in any interviews of behalf of the SHE team.  Permission to talk to media must be sought through - natasha.ayivor@royalmail.com</a:t>
            </a:r>
          </a:p>
        </p:txBody>
      </p:sp>
    </p:spTree>
    <p:extLst>
      <p:ext uri="{BB962C8B-B14F-4D97-AF65-F5344CB8AC3E}">
        <p14:creationId xmlns:p14="http://schemas.microsoft.com/office/powerpoint/2010/main" val="856437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Content slid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RM">
      <a:majorFont>
        <a:latin typeface="ChevinBold"/>
        <a:ea typeface=""/>
        <a:cs typeface=""/>
      </a:majorFont>
      <a:minorFont>
        <a:latin typeface="Chevin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400" dirty="0" smtClean="0">
            <a:latin typeface="ChevinLight" pitchFamily="2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7_Content slid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RM">
      <a:majorFont>
        <a:latin typeface="ChevinBold"/>
        <a:ea typeface=""/>
        <a:cs typeface=""/>
      </a:majorFont>
      <a:minorFont>
        <a:latin typeface="Chevin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400" dirty="0" smtClean="0">
            <a:latin typeface="ChevinLight" pitchFamily="2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3_Content slid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RM">
      <a:majorFont>
        <a:latin typeface="ChevinBold"/>
        <a:ea typeface=""/>
        <a:cs typeface=""/>
      </a:majorFont>
      <a:minorFont>
        <a:latin typeface="Chevin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400" dirty="0" smtClean="0">
            <a:latin typeface="ChevinLight" pitchFamily="2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Office Theme">
  <a:themeElements>
    <a:clrScheme name="Royal Mail Group">
      <a:dk1>
        <a:srgbClr val="000000"/>
      </a:dk1>
      <a:lt1>
        <a:srgbClr val="FFFFFF"/>
      </a:lt1>
      <a:dk2>
        <a:srgbClr val="FF0000"/>
      </a:dk2>
      <a:lt2>
        <a:srgbClr val="666666"/>
      </a:lt2>
      <a:accent1>
        <a:srgbClr val="204A91"/>
      </a:accent1>
      <a:accent2>
        <a:srgbClr val="000000"/>
      </a:accent2>
      <a:accent3>
        <a:srgbClr val="666666"/>
      </a:accent3>
      <a:accent4>
        <a:srgbClr val="969696"/>
      </a:accent4>
      <a:accent5>
        <a:srgbClr val="B2B2B2"/>
      </a:accent5>
      <a:accent6>
        <a:srgbClr val="DDDDDD"/>
      </a:accent6>
      <a:hlink>
        <a:srgbClr val="204A91"/>
      </a:hlink>
      <a:folHlink>
        <a:srgbClr val="204A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Design">
      <a:majorFont>
        <a:latin typeface="ChevinBold"/>
        <a:ea typeface=""/>
        <a:cs typeface=""/>
      </a:majorFont>
      <a:minorFont>
        <a:latin typeface="Chevin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>
            <a:lumMod val="20000"/>
            <a:lumOff val="80000"/>
          </a:schemeClr>
        </a:solidFill>
        <a:ln w="28575" cap="flat" cmpd="sng" algn="ctr">
          <a:solidFill>
            <a:srgbClr val="FF0000"/>
          </a:solidFill>
          <a:prstDash val="sysDot"/>
          <a:round/>
          <a:headEnd type="none" w="med" len="med"/>
          <a:tailEnd type="none" w="med" len="med"/>
        </a:ln>
        <a:effectLst/>
        <a:ex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algn="ctr">
          <a:defRPr sz="1400" b="0" dirty="0">
            <a:solidFill>
              <a:schemeClr val="bg1">
                <a:lumMod val="50000"/>
              </a:schemeClr>
            </a:solidFill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8575" cap="flat" cmpd="sng" algn="ctr">
          <a:solidFill>
            <a:srgbClr val="CC0066"/>
          </a:solidFill>
          <a:prstDash val="sysDot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Design">
      <a:majorFont>
        <a:latin typeface="ChevinBold"/>
        <a:ea typeface=""/>
        <a:cs typeface=""/>
      </a:majorFont>
      <a:minorFont>
        <a:latin typeface="Chevin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>
            <a:lumMod val="20000"/>
            <a:lumOff val="80000"/>
          </a:schemeClr>
        </a:solidFill>
        <a:ln w="28575" cap="flat" cmpd="sng" algn="ctr">
          <a:solidFill>
            <a:srgbClr val="FF0000"/>
          </a:solidFill>
          <a:prstDash val="sysDot"/>
          <a:round/>
          <a:headEnd type="none" w="med" len="med"/>
          <a:tailEnd type="none" w="med" len="med"/>
        </a:ln>
        <a:effectLst/>
        <a:ex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algn="ctr">
          <a:defRPr sz="1400" b="0" dirty="0">
            <a:solidFill>
              <a:schemeClr val="bg1">
                <a:lumMod val="50000"/>
              </a:schemeClr>
            </a:solidFill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8575" cap="flat" cmpd="sng" algn="ctr">
          <a:solidFill>
            <a:srgbClr val="CC0066"/>
          </a:solidFill>
          <a:prstDash val="sysDot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4A6C6647FCAFF4A8A99753DA46872AF" ma:contentTypeVersion="0" ma:contentTypeDescription="Create a new document." ma:contentTypeScope="" ma:versionID="c894a62bdc799744bad461611562e6b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92817D8-9E9F-4529-A3BF-1593A631BB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7D9E3CD-4A11-415C-BB39-37DB50482AB1}">
  <ds:schemaRefs>
    <ds:schemaRef ds:uri="http://schemas.microsoft.com/office/2006/documentManagement/types"/>
    <ds:schemaRef ds:uri="http://purl.org/dc/terms/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272B863-5CDB-48E8-8FDE-F4D0847C558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9837</TotalTime>
  <Words>569</Words>
  <Application>Microsoft Office PowerPoint</Application>
  <PresentationFormat>A4 Paper (210x297 mm)</PresentationFormat>
  <Paragraphs>33</Paragraphs>
  <Slides>6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6_Content slides</vt:lpstr>
      <vt:lpstr>7_Content slides</vt:lpstr>
      <vt:lpstr>3_Content slides</vt:lpstr>
      <vt:lpstr>1_Office Theme</vt:lpstr>
      <vt:lpstr>Custom Design</vt:lpstr>
      <vt:lpstr>1_Custom Design</vt:lpstr>
      <vt:lpstr>think-cell Slide</vt:lpstr>
      <vt:lpstr>Dog Awareness Week 2019</vt:lpstr>
      <vt:lpstr>Internal Communications - AVOID</vt:lpstr>
      <vt:lpstr>Managers Daily Task List</vt:lpstr>
      <vt:lpstr>Campaign Board in units</vt:lpstr>
      <vt:lpstr>What else can be done</vt:lpstr>
      <vt:lpstr>What else are we doing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www.wizkit.com;john.w.english@royalmail.com</dc:creator>
  <cp:lastModifiedBy>lpietrzykowska</cp:lastModifiedBy>
  <cp:revision>830</cp:revision>
  <cp:lastPrinted>2019-06-28T12:44:01Z</cp:lastPrinted>
  <dcterms:created xsi:type="dcterms:W3CDTF">2011-10-20T13:01:56Z</dcterms:created>
  <dcterms:modified xsi:type="dcterms:W3CDTF">2019-06-28T12:44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5</vt:i4>
  </property>
  <property fmtid="{D5CDD505-2E9C-101B-9397-08002B2CF9AE}" pid="4" name="WizKit Template Sub">
    <vt:lpwstr>RM</vt:lpwstr>
  </property>
  <property fmtid="{D5CDD505-2E9C-101B-9397-08002B2CF9AE}" pid="5" name="ContentTypeId">
    <vt:lpwstr>0x010100A4A6C6647FCAFF4A8A99753DA46872AF</vt:lpwstr>
  </property>
</Properties>
</file>